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7" r:id="rId4"/>
  </p:sldMasterIdLst>
  <p:notesMasterIdLst>
    <p:notesMasterId r:id="rId15"/>
  </p:notesMasterIdLst>
  <p:handoutMasterIdLst>
    <p:handoutMasterId r:id="rId16"/>
  </p:handoutMasterIdLst>
  <p:sldIdLst>
    <p:sldId id="597" r:id="rId5"/>
    <p:sldId id="2147377055" r:id="rId6"/>
    <p:sldId id="2147377052" r:id="rId7"/>
    <p:sldId id="2147376800" r:id="rId8"/>
    <p:sldId id="2147377058" r:id="rId9"/>
    <p:sldId id="2147377043" r:id="rId10"/>
    <p:sldId id="2147377059" r:id="rId11"/>
    <p:sldId id="2147377057" r:id="rId12"/>
    <p:sldId id="2147377056" r:id="rId13"/>
    <p:sldId id="2147376795" r:id="rId14"/>
  </p:sldIdLst>
  <p:sldSz cx="9144000" cy="5143500" type="screen16x9"/>
  <p:notesSz cx="6858000" cy="9144000"/>
  <p:embeddedFontLst>
    <p:embeddedFont>
      <p:font typeface="IBM Plex Sans" panose="020B0503050203000203" pitchFamily="34" charset="0"/>
      <p:regular r:id="rId17"/>
      <p:bold r:id="rId18"/>
      <p:italic r:id="rId19"/>
      <p:boldItalic r:id="rId20"/>
    </p:embeddedFont>
    <p:embeddedFont>
      <p:font typeface="Impact" panose="020B0806030902050204" pitchFamily="34" charset="0"/>
      <p:regular r:id="rId21"/>
    </p:embeddedFont>
    <p:embeddedFont>
      <p:font typeface="Montserrat" panose="00000500000000000000" pitchFamily="2" charset="0"/>
      <p:regular r:id="rId22"/>
      <p:bold r:id="rId23"/>
      <p:italic r:id="rId24"/>
      <p:boldItalic r:id="rId25"/>
    </p:embeddedFont>
    <p:embeddedFont>
      <p:font typeface="Montserrat SemiBold" panose="00000700000000000000" pitchFamily="2" charset="0"/>
      <p:regular r:id="rId26"/>
      <p:bold r:id="rId27"/>
      <p:italic r:id="rId28"/>
      <p:boldItalic r:id="rId29"/>
    </p:embeddedFont>
  </p:embeddedFontLst>
  <p:custDataLst>
    <p:tags r:id="rId3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whney, Viraj" initials="SV" lastIdx="14" clrIdx="0">
    <p:extLst>
      <p:ext uri="{19B8F6BF-5375-455C-9EA6-DF929625EA0E}">
        <p15:presenceInfo xmlns:p15="http://schemas.microsoft.com/office/powerpoint/2012/main" userId="S::viraj.sawhney@warburgpincus.com::ec1c7233-9e59-4d08-829d-76f6c1342db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052"/>
    <a:srgbClr val="F0EEFF"/>
    <a:srgbClr val="3C69A0"/>
    <a:srgbClr val="4E81BE"/>
    <a:srgbClr val="719ACB"/>
    <a:srgbClr val="95B3D7"/>
    <a:srgbClr val="B9CDE5"/>
    <a:srgbClr val="DCE6F2"/>
    <a:srgbClr val="521C96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AB8526A-58E8-4FAA-9410-1DA658D63A05}">
  <a:tblStyle styleId="{8AB8526A-58E8-4FAA-9410-1DA658D63A05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21" autoAdjust="0"/>
    <p:restoredTop sz="94721"/>
  </p:normalViewPr>
  <p:slideViewPr>
    <p:cSldViewPr snapToGrid="0">
      <p:cViewPr>
        <p:scale>
          <a:sx n="150" d="100"/>
          <a:sy n="150" d="100"/>
        </p:scale>
        <p:origin x="81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237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o Trevizo H" userId="d285aee106cb5dfd" providerId="LiveId" clId="{E346F35C-DBB4-438E-9FE7-93CF25C40883}"/>
    <pc:docChg chg="undo redo custSel addSld delSld modSld sldOrd addSection delSection">
      <pc:chgData name="Leonardo Trevizo H" userId="d285aee106cb5dfd" providerId="LiveId" clId="{E346F35C-DBB4-438E-9FE7-93CF25C40883}" dt="2025-07-11T04:20:59.822" v="2165" actId="47"/>
      <pc:docMkLst>
        <pc:docMk/>
      </pc:docMkLst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289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408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441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1809073826" sldId="597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2" creationId="{ED72DFD0-EE17-47CC-B412-A1140BFA0926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3" creationId="{ABFB262C-26B3-43C9-942E-80D092E4F0B8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5" creationId="{DD9B380A-F4B7-4C33-89E3-79B31EEEC7EA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1809073826" sldId="597"/>
            <ac:spMk id="7" creationId="{D7C7179F-9234-4709-9B4E-BBA3DC657177}"/>
          </ac:spMkLst>
        </pc:spChg>
      </pc:sldChg>
      <pc:sldChg chg="del">
        <pc:chgData name="Leonardo Trevizo H" userId="d285aee106cb5dfd" providerId="LiveId" clId="{E346F35C-DBB4-438E-9FE7-93CF25C40883}" dt="2025-07-09T03:33:31.689" v="248" actId="2696"/>
        <pc:sldMkLst>
          <pc:docMk/>
          <pc:sldMk cId="2580273606" sldId="2147376792"/>
        </pc:sldMkLst>
      </pc:sldChg>
      <pc:sldChg chg="modSp del mod">
        <pc:chgData name="Leonardo Trevizo H" userId="d285aee106cb5dfd" providerId="LiveId" clId="{E346F35C-DBB4-438E-9FE7-93CF25C40883}" dt="2025-07-10T16:28:07.964" v="1750" actId="2696"/>
        <pc:sldMkLst>
          <pc:docMk/>
          <pc:sldMk cId="3162347461" sldId="2147376793"/>
        </pc:sldMkLst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51351079" sldId="2147376794"/>
        </pc:sldMkLst>
      </pc:sldChg>
      <pc:sldChg chg="addSp delSp modSp mod ord modClrScheme chgLayout">
        <pc:chgData name="Leonardo Trevizo H" userId="d285aee106cb5dfd" providerId="LiveId" clId="{E346F35C-DBB4-438E-9FE7-93CF25C40883}" dt="2025-07-09T04:09:10.514" v="677" actId="1076"/>
        <pc:sldMkLst>
          <pc:docMk/>
          <pc:sldMk cId="2185351981" sldId="2147376795"/>
        </pc:sldMkLst>
        <pc:picChg chg="add mod">
          <ac:chgData name="Leonardo Trevizo H" userId="d285aee106cb5dfd" providerId="LiveId" clId="{E346F35C-DBB4-438E-9FE7-93CF25C40883}" dt="2025-07-09T04:08:29.547" v="673" actId="1076"/>
          <ac:picMkLst>
            <pc:docMk/>
            <pc:sldMk cId="2185351981" sldId="2147376795"/>
            <ac:picMk id="5" creationId="{D808C843-A93E-D424-48AA-CF98B62120CF}"/>
          </ac:picMkLst>
        </pc:picChg>
        <pc:picChg chg="mod">
          <ac:chgData name="Leonardo Trevizo H" userId="d285aee106cb5dfd" providerId="LiveId" clId="{E346F35C-DBB4-438E-9FE7-93CF25C40883}" dt="2025-07-09T04:08:38.524" v="675" actId="1076"/>
          <ac:picMkLst>
            <pc:docMk/>
            <pc:sldMk cId="2185351981" sldId="2147376795"/>
            <ac:picMk id="11" creationId="{1F328EA3-BBFE-34CF-6E05-4D2E65D86935}"/>
          </ac:picMkLst>
        </pc:picChg>
        <pc:picChg chg="mod">
          <ac:chgData name="Leonardo Trevizo H" userId="d285aee106cb5dfd" providerId="LiveId" clId="{E346F35C-DBB4-438E-9FE7-93CF25C40883}" dt="2025-07-09T04:09:10.514" v="677" actId="1076"/>
          <ac:picMkLst>
            <pc:docMk/>
            <pc:sldMk cId="2185351981" sldId="2147376795"/>
            <ac:picMk id="14" creationId="{2BC2BE99-CAB1-AC8B-C4D6-70892490E842}"/>
          </ac:picMkLst>
        </pc:picChg>
        <pc:picChg chg="add mod">
          <ac:chgData name="Leonardo Trevizo H" userId="d285aee106cb5dfd" providerId="LiveId" clId="{E346F35C-DBB4-438E-9FE7-93CF25C40883}" dt="2025-07-09T04:08:17.688" v="670" actId="1076"/>
          <ac:picMkLst>
            <pc:docMk/>
            <pc:sldMk cId="2185351981" sldId="2147376795"/>
            <ac:picMk id="23" creationId="{AE06A257-14F9-1552-6FF0-9759E899882D}"/>
          </ac:picMkLst>
        </pc:picChg>
        <pc:picChg chg="add mod">
          <ac:chgData name="Leonardo Trevizo H" userId="d285aee106cb5dfd" providerId="LiveId" clId="{E346F35C-DBB4-438E-9FE7-93CF25C40883}" dt="2025-07-09T04:08:32.514" v="674" actId="1076"/>
          <ac:picMkLst>
            <pc:docMk/>
            <pc:sldMk cId="2185351981" sldId="2147376795"/>
            <ac:picMk id="24" creationId="{53C4FDBD-7207-F39B-F7F8-E35F6EEC639E}"/>
          </ac:picMkLst>
        </pc:picChg>
        <pc:picChg chg="add mod">
          <ac:chgData name="Leonardo Trevizo H" userId="d285aee106cb5dfd" providerId="LiveId" clId="{E346F35C-DBB4-438E-9FE7-93CF25C40883}" dt="2025-07-09T04:07:24.568" v="661" actId="1076"/>
          <ac:picMkLst>
            <pc:docMk/>
            <pc:sldMk cId="2185351981" sldId="2147376795"/>
            <ac:picMk id="27" creationId="{66F6391D-2ED5-9E41-C252-5FE746FF6A7A}"/>
          </ac:picMkLst>
        </pc:picChg>
        <pc:picChg chg="add mod">
          <ac:chgData name="Leonardo Trevizo H" userId="d285aee106cb5dfd" providerId="LiveId" clId="{E346F35C-DBB4-438E-9FE7-93CF25C40883}" dt="2025-07-09T04:08:20.876" v="671" actId="1076"/>
          <ac:picMkLst>
            <pc:docMk/>
            <pc:sldMk cId="2185351981" sldId="2147376795"/>
            <ac:picMk id="28" creationId="{1CD428FC-078C-692A-0DA9-4C60FC42C359}"/>
          </ac:picMkLst>
        </pc:picChg>
        <pc:picChg chg="add mod">
          <ac:chgData name="Leonardo Trevizo H" userId="d285aee106cb5dfd" providerId="LiveId" clId="{E346F35C-DBB4-438E-9FE7-93CF25C40883}" dt="2025-07-09T04:08:24.178" v="672" actId="1076"/>
          <ac:picMkLst>
            <pc:docMk/>
            <pc:sldMk cId="2185351981" sldId="2147376795"/>
            <ac:picMk id="29" creationId="{49CC21D6-7B8E-0EC6-C852-A4D85AE3398E}"/>
          </ac:picMkLst>
        </pc:picChg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857445882" sldId="2147376797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4106685361" sldId="2147376798"/>
        </pc:sldMkLst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3329269199" sldId="2147376799"/>
        </pc:sldMkLst>
      </pc:sldChg>
      <pc:sldChg chg="addSp modSp mod ord">
        <pc:chgData name="Leonardo Trevizo H" userId="d285aee106cb5dfd" providerId="LiveId" clId="{E346F35C-DBB4-438E-9FE7-93CF25C40883}" dt="2025-07-11T01:23:01.707" v="2085" actId="20577"/>
        <pc:sldMkLst>
          <pc:docMk/>
          <pc:sldMk cId="2373028972" sldId="2147376800"/>
        </pc:sldMkLst>
        <pc:spChg chg="mod">
          <ac:chgData name="Leonardo Trevizo H" userId="d285aee106cb5dfd" providerId="LiveId" clId="{E346F35C-DBB4-438E-9FE7-93CF25C40883}" dt="2025-07-09T23:26:27.030" v="1510"/>
          <ac:spMkLst>
            <pc:docMk/>
            <pc:sldMk cId="2373028972" sldId="2147376800"/>
            <ac:spMk id="2" creationId="{A4896D03-5F31-B04A-48BC-2317BD5A19EA}"/>
          </ac:spMkLst>
        </pc:spChg>
        <pc:spChg chg="mod">
          <ac:chgData name="Leonardo Trevizo H" userId="d285aee106cb5dfd" providerId="LiveId" clId="{E346F35C-DBB4-438E-9FE7-93CF25C40883}" dt="2025-07-09T23:26:35.148" v="1512" actId="20577"/>
          <ac:spMkLst>
            <pc:docMk/>
            <pc:sldMk cId="2373028972" sldId="2147376800"/>
            <ac:spMk id="3" creationId="{73788D32-2EB3-BE5D-447F-5B383312D5ED}"/>
          </ac:spMkLst>
        </pc:spChg>
        <pc:spChg chg="mod">
          <ac:chgData name="Leonardo Trevizo H" userId="d285aee106cb5dfd" providerId="LiveId" clId="{E346F35C-DBB4-438E-9FE7-93CF25C40883}" dt="2025-07-10T03:00:15.925" v="1671" actId="20577"/>
          <ac:spMkLst>
            <pc:docMk/>
            <pc:sldMk cId="2373028972" sldId="2147376800"/>
            <ac:spMk id="4" creationId="{1CAB4CBA-3FEF-CBA6-116F-BD7EAB398CA9}"/>
          </ac:spMkLst>
        </pc:spChg>
        <pc:spChg chg="mod">
          <ac:chgData name="Leonardo Trevizo H" userId="d285aee106cb5dfd" providerId="LiveId" clId="{E346F35C-DBB4-438E-9FE7-93CF25C40883}" dt="2025-07-11T01:23:01.707" v="2085" actId="20577"/>
          <ac:spMkLst>
            <pc:docMk/>
            <pc:sldMk cId="2373028972" sldId="2147376800"/>
            <ac:spMk id="5" creationId="{CF4B80C3-F116-2E6B-7E72-2BE885F878A5}"/>
          </ac:spMkLst>
        </pc:spChg>
        <pc:picChg chg="add mod">
          <ac:chgData name="Leonardo Trevizo H" userId="d285aee106cb5dfd" providerId="LiveId" clId="{E346F35C-DBB4-438E-9FE7-93CF25C40883}" dt="2025-07-09T23:29:29.187" v="1544" actId="1076"/>
          <ac:picMkLst>
            <pc:docMk/>
            <pc:sldMk cId="2373028972" sldId="2147376800"/>
            <ac:picMk id="7" creationId="{C590C0A8-070E-3ABC-02C9-94B0A893F984}"/>
          </ac:picMkLst>
        </pc:picChg>
        <pc:picChg chg="add mod">
          <ac:chgData name="Leonardo Trevizo H" userId="d285aee106cb5dfd" providerId="LiveId" clId="{E346F35C-DBB4-438E-9FE7-93CF25C40883}" dt="2025-07-09T23:30:23.181" v="1569" actId="1076"/>
          <ac:picMkLst>
            <pc:docMk/>
            <pc:sldMk cId="2373028972" sldId="2147376800"/>
            <ac:picMk id="8" creationId="{4B0DB8BE-E6D6-D502-2BE6-B812DF6739EA}"/>
          </ac:picMkLst>
        </pc:picChg>
        <pc:picChg chg="add mod">
          <ac:chgData name="Leonardo Trevizo H" userId="d285aee106cb5dfd" providerId="LiveId" clId="{E346F35C-DBB4-438E-9FE7-93CF25C40883}" dt="2025-07-09T23:32:54.046" v="1593" actId="1076"/>
          <ac:picMkLst>
            <pc:docMk/>
            <pc:sldMk cId="2373028972" sldId="2147376800"/>
            <ac:picMk id="9" creationId="{7220EC46-1210-763C-5AB7-B9B7F8717E5D}"/>
          </ac:picMkLst>
        </pc:picChg>
        <pc:picChg chg="add mod">
          <ac:chgData name="Leonardo Trevizo H" userId="d285aee106cb5dfd" providerId="LiveId" clId="{E346F35C-DBB4-438E-9FE7-93CF25C40883}" dt="2025-07-11T01:15:22.318" v="2041" actId="1076"/>
          <ac:picMkLst>
            <pc:docMk/>
            <pc:sldMk cId="2373028972" sldId="2147376800"/>
            <ac:picMk id="10" creationId="{663F770D-11CE-3FEF-03E1-43DC4351008D}"/>
          </ac:picMkLst>
        </pc:picChg>
      </pc:sldChg>
      <pc:sldChg chg="modSp del mod">
        <pc:chgData name="Leonardo Trevizo H" userId="d285aee106cb5dfd" providerId="LiveId" clId="{E346F35C-DBB4-438E-9FE7-93CF25C40883}" dt="2025-07-09T03:33:31.689" v="248" actId="2696"/>
        <pc:sldMkLst>
          <pc:docMk/>
          <pc:sldMk cId="2636642438" sldId="2147376801"/>
        </pc:sldMkLst>
      </pc:sldChg>
      <pc:sldChg chg="addSp modSp add del mod ord">
        <pc:chgData name="Leonardo Trevizo H" userId="d285aee106cb5dfd" providerId="LiveId" clId="{E346F35C-DBB4-438E-9FE7-93CF25C40883}" dt="2025-07-09T04:22:14.505" v="829" actId="47"/>
        <pc:sldMkLst>
          <pc:docMk/>
          <pc:sldMk cId="3896329313" sldId="2147376802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774399355" sldId="2147377002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022615002" sldId="2147377042"/>
        </pc:sldMkLst>
      </pc:sldChg>
      <pc:sldChg chg="addSp delSp modSp mod ord">
        <pc:chgData name="Leonardo Trevizo H" userId="d285aee106cb5dfd" providerId="LiveId" clId="{E346F35C-DBB4-438E-9FE7-93CF25C40883}" dt="2025-07-11T04:06:02.462" v="2132"/>
        <pc:sldMkLst>
          <pc:docMk/>
          <pc:sldMk cId="387445325" sldId="2147377043"/>
        </pc:sldMkLst>
        <pc:spChg chg="add del mod">
          <ac:chgData name="Leonardo Trevizo H" userId="d285aee106cb5dfd" providerId="LiveId" clId="{E346F35C-DBB4-438E-9FE7-93CF25C40883}" dt="2025-07-09T22:55:14.224" v="1238" actId="790"/>
          <ac:spMkLst>
            <pc:docMk/>
            <pc:sldMk cId="387445325" sldId="2147377043"/>
            <ac:spMk id="2" creationId="{9746E629-E743-BA0F-5E14-2B7887801DBB}"/>
          </ac:spMkLst>
        </pc:spChg>
        <pc:spChg chg="add del mod">
          <ac:chgData name="Leonardo Trevizo H" userId="d285aee106cb5dfd" providerId="LiveId" clId="{E346F35C-DBB4-438E-9FE7-93CF25C40883}" dt="2025-07-11T02:53:55.300" v="2124" actId="20577"/>
          <ac:spMkLst>
            <pc:docMk/>
            <pc:sldMk cId="387445325" sldId="2147377043"/>
            <ac:spMk id="4" creationId="{BCD44CFF-377F-BDD8-86C3-D54CAE1AA376}"/>
          </ac:spMkLst>
        </pc:spChg>
        <pc:picChg chg="mod">
          <ac:chgData name="Leonardo Trevizo H" userId="d285aee106cb5dfd" providerId="LiveId" clId="{E346F35C-DBB4-438E-9FE7-93CF25C40883}" dt="2025-07-11T04:06:02.462" v="2132"/>
          <ac:picMkLst>
            <pc:docMk/>
            <pc:sldMk cId="387445325" sldId="2147377043"/>
            <ac:picMk id="9" creationId="{100A1D89-B204-FEA0-7956-EA8A52594857}"/>
          </ac:picMkLst>
        </pc:picChg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1533227966" sldId="2147377044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355645910" sldId="2147377045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3504163205" sldId="2147377046"/>
        </pc:sldMkLst>
      </pc:sldChg>
      <pc:sldChg chg="modSp mod ord">
        <pc:chgData name="Leonardo Trevizo H" userId="d285aee106cb5dfd" providerId="LiveId" clId="{E346F35C-DBB4-438E-9FE7-93CF25C40883}" dt="2025-07-10T04:16:58.402" v="1677"/>
        <pc:sldMkLst>
          <pc:docMk/>
          <pc:sldMk cId="2083196309" sldId="2147377048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4236825882" sldId="2147377049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2318367447" sldId="2147377050"/>
        </pc:sldMkLst>
      </pc:sldChg>
      <pc:sldChg chg="modSp mod">
        <pc:chgData name="Leonardo Trevizo H" userId="d285aee106cb5dfd" providerId="LiveId" clId="{E346F35C-DBB4-438E-9FE7-93CF25C40883}" dt="2025-07-09T22:55:14.224" v="1238" actId="790"/>
        <pc:sldMkLst>
          <pc:docMk/>
          <pc:sldMk cId="0" sldId="2147377051"/>
        </pc:sldMkLst>
      </pc:sldChg>
      <pc:sldChg chg="addSp delSp modSp mod">
        <pc:chgData name="Leonardo Trevizo H" userId="d285aee106cb5dfd" providerId="LiveId" clId="{E346F35C-DBB4-438E-9FE7-93CF25C40883}" dt="2025-07-09T23:07:09.530" v="1364" actId="478"/>
        <pc:sldMkLst>
          <pc:docMk/>
          <pc:sldMk cId="2360522094" sldId="2147377052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2360522094" sldId="2147377052"/>
            <ac:spMk id="2" creationId="{6BEC61B8-C96A-2360-6AA3-38449F8FF9D1}"/>
          </ac:spMkLst>
        </pc:spChg>
        <pc:spChg chg="mod">
          <ac:chgData name="Leonardo Trevizo H" userId="d285aee106cb5dfd" providerId="LiveId" clId="{E346F35C-DBB4-438E-9FE7-93CF25C40883}" dt="2025-07-09T23:05:32.102" v="1358" actId="20577"/>
          <ac:spMkLst>
            <pc:docMk/>
            <pc:sldMk cId="2360522094" sldId="2147377052"/>
            <ac:spMk id="3" creationId="{FC4678C4-EDA3-7BCF-DDD4-0F2038395B5C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2360522094" sldId="2147377052"/>
            <ac:spMk id="4" creationId="{C62F9380-8B5B-8B9B-06BD-77B10C337FA1}"/>
          </ac:spMkLst>
        </pc:spChg>
        <pc:spChg chg="add mod">
          <ac:chgData name="Leonardo Trevizo H" userId="d285aee106cb5dfd" providerId="LiveId" clId="{E346F35C-DBB4-438E-9FE7-93CF25C40883}" dt="2025-07-09T23:06:55.017" v="1361" actId="1076"/>
          <ac:spMkLst>
            <pc:docMk/>
            <pc:sldMk cId="2360522094" sldId="2147377052"/>
            <ac:spMk id="19" creationId="{F494771B-6FC6-2C88-1C85-14A4B32CEA61}"/>
          </ac:spMkLst>
        </pc:spChg>
        <pc:picChg chg="add mod">
          <ac:chgData name="Leonardo Trevizo H" userId="d285aee106cb5dfd" providerId="LiveId" clId="{E346F35C-DBB4-438E-9FE7-93CF25C40883}" dt="2025-07-09T23:06:55.017" v="1361" actId="1076"/>
          <ac:picMkLst>
            <pc:docMk/>
            <pc:sldMk cId="2360522094" sldId="2147377052"/>
            <ac:picMk id="21" creationId="{5FCEAFA7-7B58-1A92-77E8-FB9FFF750C2A}"/>
          </ac:picMkLst>
        </pc:picChg>
        <pc:picChg chg="add mod">
          <ac:chgData name="Leonardo Trevizo H" userId="d285aee106cb5dfd" providerId="LiveId" clId="{E346F35C-DBB4-438E-9FE7-93CF25C40883}" dt="2025-07-09T23:04:51.867" v="1338" actId="1076"/>
          <ac:picMkLst>
            <pc:docMk/>
            <pc:sldMk cId="2360522094" sldId="2147377052"/>
            <ac:picMk id="22" creationId="{F913D83B-BDCF-BD6E-F379-BC88DA94100D}"/>
          </ac:picMkLst>
        </pc:picChg>
        <pc:picChg chg="add mod">
          <ac:chgData name="Leonardo Trevizo H" userId="d285aee106cb5dfd" providerId="LiveId" clId="{E346F35C-DBB4-438E-9FE7-93CF25C40883}" dt="2025-07-09T23:03:48.059" v="1329" actId="1076"/>
          <ac:picMkLst>
            <pc:docMk/>
            <pc:sldMk cId="2360522094" sldId="2147377052"/>
            <ac:picMk id="23" creationId="{D43DC79D-B7D0-5929-F298-D69C39DCBCAB}"/>
          </ac:picMkLst>
        </pc:picChg>
        <pc:picChg chg="add mod">
          <ac:chgData name="Leonardo Trevizo H" userId="d285aee106cb5dfd" providerId="LiveId" clId="{E346F35C-DBB4-438E-9FE7-93CF25C40883}" dt="2025-07-09T23:04:48.372" v="1337" actId="1076"/>
          <ac:picMkLst>
            <pc:docMk/>
            <pc:sldMk cId="2360522094" sldId="2147377052"/>
            <ac:picMk id="24" creationId="{2AED9BAD-D17C-7596-6854-366DD0D55508}"/>
          </ac:picMkLst>
        </pc:picChg>
        <pc:picChg chg="add mod">
          <ac:chgData name="Leonardo Trevizo H" userId="d285aee106cb5dfd" providerId="LiveId" clId="{E346F35C-DBB4-438E-9FE7-93CF25C40883}" dt="2025-07-09T23:06:38.327" v="1360" actId="1076"/>
          <ac:picMkLst>
            <pc:docMk/>
            <pc:sldMk cId="2360522094" sldId="2147377052"/>
            <ac:picMk id="25" creationId="{5921C3D6-AD03-708C-870A-DCC1773888C2}"/>
          </ac:picMkLst>
        </pc:picChg>
      </pc:sldChg>
      <pc:sldChg chg="modSp add del mod ord">
        <pc:chgData name="Leonardo Trevizo H" userId="d285aee106cb5dfd" providerId="LiveId" clId="{E346F35C-DBB4-438E-9FE7-93CF25C40883}" dt="2025-07-09T04:22:14.505" v="829" actId="47"/>
        <pc:sldMkLst>
          <pc:docMk/>
          <pc:sldMk cId="3839660198" sldId="2147377053"/>
        </pc:sldMkLst>
      </pc:sldChg>
      <pc:sldChg chg="modSp add del mod">
        <pc:chgData name="Leonardo Trevizo H" userId="d285aee106cb5dfd" providerId="LiveId" clId="{E346F35C-DBB4-438E-9FE7-93CF25C40883}" dt="2025-07-11T04:20:59.822" v="2165" actId="47"/>
        <pc:sldMkLst>
          <pc:docMk/>
          <pc:sldMk cId="1684834052" sldId="2147377054"/>
        </pc:sldMkLst>
      </pc:sldChg>
      <pc:sldChg chg="del">
        <pc:chgData name="Leonardo Trevizo H" userId="d285aee106cb5dfd" providerId="LiveId" clId="{E346F35C-DBB4-438E-9FE7-93CF25C40883}" dt="2025-07-09T02:00:30.269" v="0" actId="2696"/>
        <pc:sldMkLst>
          <pc:docMk/>
          <pc:sldMk cId="2717806391" sldId="2147377054"/>
        </pc:sldMkLst>
      </pc:sldChg>
      <pc:sldChg chg="addSp delSp modSp new del mod modClrScheme chgLayout">
        <pc:chgData name="Leonardo Trevizo H" userId="d285aee106cb5dfd" providerId="LiveId" clId="{E346F35C-DBB4-438E-9FE7-93CF25C40883}" dt="2025-07-09T03:33:31.689" v="248" actId="2696"/>
        <pc:sldMkLst>
          <pc:docMk/>
          <pc:sldMk cId="3142464856" sldId="2147377055"/>
        </pc:sldMkLst>
      </pc:sldChg>
      <pc:sldChg chg="addSp delSp modSp new mod modClrScheme chgLayout">
        <pc:chgData name="Leonardo Trevizo H" userId="d285aee106cb5dfd" providerId="LiveId" clId="{E346F35C-DBB4-438E-9FE7-93CF25C40883}" dt="2025-07-09T22:55:14.224" v="1238" actId="790"/>
        <pc:sldMkLst>
          <pc:docMk/>
          <pc:sldMk cId="3426862659" sldId="2147377055"/>
        </pc:sldMkLst>
        <pc:spChg chg="add mod ord">
          <ac:chgData name="Leonardo Trevizo H" userId="d285aee106cb5dfd" providerId="LiveId" clId="{E346F35C-DBB4-438E-9FE7-93CF25C40883}" dt="2025-07-09T22:55:14.224" v="1238" actId="790"/>
          <ac:spMkLst>
            <pc:docMk/>
            <pc:sldMk cId="3426862659" sldId="2147377055"/>
            <ac:spMk id="5" creationId="{71539A39-9577-2F3C-DDB3-17764D3F96CB}"/>
          </ac:spMkLst>
        </pc:spChg>
      </pc:sldChg>
      <pc:sldChg chg="modSp add mod ord">
        <pc:chgData name="Leonardo Trevizo H" userId="d285aee106cb5dfd" providerId="LiveId" clId="{E346F35C-DBB4-438E-9FE7-93CF25C40883}" dt="2025-07-09T22:55:14.224" v="1238" actId="790"/>
        <pc:sldMkLst>
          <pc:docMk/>
          <pc:sldMk cId="3810529186" sldId="2147377056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3810529186" sldId="2147377056"/>
            <ac:spMk id="2" creationId="{E05F99EA-5A21-A226-74BD-C1DE4491C132}"/>
          </ac:spMkLst>
        </pc:spChg>
      </pc:sldChg>
      <pc:sldChg chg="modSp add mod">
        <pc:chgData name="Leonardo Trevizo H" userId="d285aee106cb5dfd" providerId="LiveId" clId="{E346F35C-DBB4-438E-9FE7-93CF25C40883}" dt="2025-07-09T22:55:14.224" v="1238" actId="790"/>
        <pc:sldMkLst>
          <pc:docMk/>
          <pc:sldMk cId="689628788" sldId="2147377057"/>
        </pc:sldMkLst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689628788" sldId="2147377057"/>
            <ac:spMk id="2" creationId="{F038C2B2-703A-B978-F64D-D8AAA640665D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689628788" sldId="2147377057"/>
            <ac:spMk id="3" creationId="{26E15F7E-143D-21BB-BB22-4E34BA8D6BBE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689628788" sldId="2147377057"/>
            <ac:spMk id="4" creationId="{94A031DE-597B-F774-A615-BEEBC3034C1A}"/>
          </ac:spMkLst>
        </pc:spChg>
        <pc:spChg chg="mod">
          <ac:chgData name="Leonardo Trevizo H" userId="d285aee106cb5dfd" providerId="LiveId" clId="{E346F35C-DBB4-438E-9FE7-93CF25C40883}" dt="2025-07-09T22:55:14.224" v="1238" actId="790"/>
          <ac:spMkLst>
            <pc:docMk/>
            <pc:sldMk cId="689628788" sldId="2147377057"/>
            <ac:spMk id="5" creationId="{91B90081-1F84-14C5-AC8B-C3185170F275}"/>
          </ac:spMkLst>
        </pc:spChg>
      </pc:sldChg>
      <pc:sldChg chg="addSp delSp modSp add mod ord">
        <pc:chgData name="Leonardo Trevizo H" userId="d285aee106cb5dfd" providerId="LiveId" clId="{E346F35C-DBB4-438E-9FE7-93CF25C40883}" dt="2025-07-11T01:11:30.264" v="2022"/>
        <pc:sldMkLst>
          <pc:docMk/>
          <pc:sldMk cId="659352313" sldId="2147377058"/>
        </pc:sldMkLst>
        <pc:spChg chg="mod">
          <ac:chgData name="Leonardo Trevizo H" userId="d285aee106cb5dfd" providerId="LiveId" clId="{E346F35C-DBB4-438E-9FE7-93CF25C40883}" dt="2025-07-10T04:16:39.706" v="1673"/>
          <ac:spMkLst>
            <pc:docMk/>
            <pc:sldMk cId="659352313" sldId="2147377058"/>
            <ac:spMk id="4" creationId="{E902009D-4919-A7A5-1E8C-A0DDE66CB7E0}"/>
          </ac:spMkLst>
        </pc:spChg>
        <pc:spChg chg="mod">
          <ac:chgData name="Leonardo Trevizo H" userId="d285aee106cb5dfd" providerId="LiveId" clId="{E346F35C-DBB4-438E-9FE7-93CF25C40883}" dt="2025-07-10T04:16:45.960" v="1675" actId="20577"/>
          <ac:spMkLst>
            <pc:docMk/>
            <pc:sldMk cId="659352313" sldId="2147377058"/>
            <ac:spMk id="6" creationId="{DE43976C-846C-AF1B-F607-415E605443F6}"/>
          </ac:spMkLst>
        </pc:spChg>
        <pc:spChg chg="mod">
          <ac:chgData name="Leonardo Trevizo H" userId="d285aee106cb5dfd" providerId="LiveId" clId="{E346F35C-DBB4-438E-9FE7-93CF25C40883}" dt="2025-07-10T04:17:13.463" v="1678" actId="20577"/>
          <ac:spMkLst>
            <pc:docMk/>
            <pc:sldMk cId="659352313" sldId="2147377058"/>
            <ac:spMk id="8" creationId="{D94781B8-698A-40D1-420C-5AC9B084E190}"/>
          </ac:spMkLst>
        </pc:spChg>
        <pc:spChg chg="add 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9" creationId="{468B4410-3491-D159-7A53-D4B55ADF052B}"/>
          </ac:spMkLst>
        </pc:spChg>
        <pc:spChg chg="mod">
          <ac:chgData name="Leonardo Trevizo H" userId="d285aee106cb5dfd" providerId="LiveId" clId="{E346F35C-DBB4-438E-9FE7-93CF25C40883}" dt="2025-07-11T01:00:02.981" v="1763" actId="6549"/>
          <ac:spMkLst>
            <pc:docMk/>
            <pc:sldMk cId="659352313" sldId="2147377058"/>
            <ac:spMk id="11" creationId="{A92303D6-D44E-58FE-97E2-4CB3145526B1}"/>
          </ac:spMkLst>
        </pc:spChg>
        <pc:spChg chg="mod">
          <ac:chgData name="Leonardo Trevizo H" userId="d285aee106cb5dfd" providerId="LiveId" clId="{E346F35C-DBB4-438E-9FE7-93CF25C40883}" dt="2025-07-11T01:06:38.688" v="1934" actId="20577"/>
          <ac:spMkLst>
            <pc:docMk/>
            <pc:sldMk cId="659352313" sldId="2147377058"/>
            <ac:spMk id="12" creationId="{1AFE586A-C339-35ED-A77D-54F0A86D4875}"/>
          </ac:spMkLst>
        </pc:spChg>
        <pc:spChg chg="mod">
          <ac:chgData name="Leonardo Trevizo H" userId="d285aee106cb5dfd" providerId="LiveId" clId="{E346F35C-DBB4-438E-9FE7-93CF25C40883}" dt="2025-07-11T01:04:27.042" v="1910" actId="1076"/>
          <ac:spMkLst>
            <pc:docMk/>
            <pc:sldMk cId="659352313" sldId="2147377058"/>
            <ac:spMk id="13" creationId="{8DB647C5-1F2D-0B9C-7584-3C9E3C384B73}"/>
          </ac:spMkLst>
        </pc:spChg>
        <pc:spChg chg="mod">
          <ac:chgData name="Leonardo Trevizo H" userId="d285aee106cb5dfd" providerId="LiveId" clId="{E346F35C-DBB4-438E-9FE7-93CF25C40883}" dt="2025-07-11T01:06:44.273" v="1937" actId="20577"/>
          <ac:spMkLst>
            <pc:docMk/>
            <pc:sldMk cId="659352313" sldId="2147377058"/>
            <ac:spMk id="14" creationId="{68D2FD07-6595-2155-0C64-209E0F2201D0}"/>
          </ac:spMkLst>
        </pc:spChg>
        <pc:spChg chg="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15" creationId="{727892E6-2262-144F-F711-06DBE390ECF6}"/>
          </ac:spMkLst>
        </pc:spChg>
        <pc:spChg chg="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16" creationId="{41EE5271-C080-EDA8-D2C2-157C7D9C732A}"/>
          </ac:spMkLst>
        </pc:spChg>
        <pc:spChg chg="add 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17" creationId="{4920AD9F-1D1F-8482-3D55-92850F3411F4}"/>
          </ac:spMkLst>
        </pc:spChg>
        <pc:spChg chg="add 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18" creationId="{9146B71E-1D86-769B-8D51-C3D972F77367}"/>
          </ac:spMkLst>
        </pc:spChg>
        <pc:spChg chg="mod">
          <ac:chgData name="Leonardo Trevizo H" userId="d285aee106cb5dfd" providerId="LiveId" clId="{E346F35C-DBB4-438E-9FE7-93CF25C40883}" dt="2025-07-11T01:04:27.042" v="1910" actId="1076"/>
          <ac:spMkLst>
            <pc:docMk/>
            <pc:sldMk cId="659352313" sldId="2147377058"/>
            <ac:spMk id="21" creationId="{4E66D1EF-856F-FA2D-9193-65904B6E371E}"/>
          </ac:spMkLst>
        </pc:spChg>
        <pc:spChg chg="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22" creationId="{62925212-92ED-9E8B-F7B1-BC95A19CC3B6}"/>
          </ac:spMkLst>
        </pc:spChg>
        <pc:spChg chg="add 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24" creationId="{7C4EA587-4D48-CB1B-FAEC-7BFA94C9CC67}"/>
          </ac:spMkLst>
        </pc:spChg>
        <pc:spChg chg="add 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25" creationId="{8FCAB0C9-11BC-28D9-5D53-CD1C85B695BE}"/>
          </ac:spMkLst>
        </pc:spChg>
        <pc:spChg chg="add mod">
          <ac:chgData name="Leonardo Trevizo H" userId="d285aee106cb5dfd" providerId="LiveId" clId="{E346F35C-DBB4-438E-9FE7-93CF25C40883}" dt="2025-07-11T01:08:55.566" v="2014" actId="1076"/>
          <ac:spMkLst>
            <pc:docMk/>
            <pc:sldMk cId="659352313" sldId="2147377058"/>
            <ac:spMk id="26" creationId="{ADC7E046-0DC4-6EF2-4DA7-DE4D20605505}"/>
          </ac:spMkLst>
        </pc:spChg>
        <pc:picChg chg="add mod">
          <ac:chgData name="Leonardo Trevizo H" userId="d285aee106cb5dfd" providerId="LiveId" clId="{E346F35C-DBB4-438E-9FE7-93CF25C40883}" dt="2025-07-11T01:09:37.976" v="2016"/>
          <ac:picMkLst>
            <pc:docMk/>
            <pc:sldMk cId="659352313" sldId="2147377058"/>
            <ac:picMk id="2" creationId="{4DBBB6E0-B3F9-3E2A-A980-7E0AF12F2108}"/>
          </ac:picMkLst>
        </pc:picChg>
        <pc:picChg chg="add mod">
          <ac:chgData name="Leonardo Trevizo H" userId="d285aee106cb5dfd" providerId="LiveId" clId="{E346F35C-DBB4-438E-9FE7-93CF25C40883}" dt="2025-07-11T01:10:26.162" v="2018"/>
          <ac:picMkLst>
            <pc:docMk/>
            <pc:sldMk cId="659352313" sldId="2147377058"/>
            <ac:picMk id="3" creationId="{EFB37A66-76C8-A507-201E-27DB923407BA}"/>
          </ac:picMkLst>
        </pc:picChg>
        <pc:picChg chg="add mod">
          <ac:chgData name="Leonardo Trevizo H" userId="d285aee106cb5dfd" providerId="LiveId" clId="{E346F35C-DBB4-438E-9FE7-93CF25C40883}" dt="2025-07-11T01:08:55.566" v="2014" actId="1076"/>
          <ac:picMkLst>
            <pc:docMk/>
            <pc:sldMk cId="659352313" sldId="2147377058"/>
            <ac:picMk id="5" creationId="{96523C1C-5FC9-B9AF-1F28-4F6B4C9D2EB8}"/>
          </ac:picMkLst>
        </pc:picChg>
        <pc:picChg chg="add mod">
          <ac:chgData name="Leonardo Trevizo H" userId="d285aee106cb5dfd" providerId="LiveId" clId="{E346F35C-DBB4-438E-9FE7-93CF25C40883}" dt="2025-07-11T01:11:05.786" v="2020"/>
          <ac:picMkLst>
            <pc:docMk/>
            <pc:sldMk cId="659352313" sldId="2147377058"/>
            <ac:picMk id="20" creationId="{B7E3C908-FA0D-DB62-B935-8BFA44D21F69}"/>
          </ac:picMkLst>
        </pc:picChg>
        <pc:picChg chg="add mod">
          <ac:chgData name="Leonardo Trevizo H" userId="d285aee106cb5dfd" providerId="LiveId" clId="{E346F35C-DBB4-438E-9FE7-93CF25C40883}" dt="2025-07-11T01:11:30.264" v="2022"/>
          <ac:picMkLst>
            <pc:docMk/>
            <pc:sldMk cId="659352313" sldId="2147377058"/>
            <ac:picMk id="27" creationId="{761C6866-AEED-B200-5672-BCAA645DD075}"/>
          </ac:picMkLst>
        </pc:picChg>
      </pc:sldChg>
      <pc:sldChg chg="addSp modSp add mod">
        <pc:chgData name="Leonardo Trevizo H" userId="d285aee106cb5dfd" providerId="LiveId" clId="{E346F35C-DBB4-438E-9FE7-93CF25C40883}" dt="2025-07-11T04:20:48.154" v="2164"/>
        <pc:sldMkLst>
          <pc:docMk/>
          <pc:sldMk cId="389441947" sldId="2147377059"/>
        </pc:sldMkLst>
        <pc:spChg chg="mod">
          <ac:chgData name="Leonardo Trevizo H" userId="d285aee106cb5dfd" providerId="LiveId" clId="{E346F35C-DBB4-438E-9FE7-93CF25C40883}" dt="2025-07-11T04:06:26.141" v="2149" actId="20577"/>
          <ac:spMkLst>
            <pc:docMk/>
            <pc:sldMk cId="389441947" sldId="2147377059"/>
            <ac:spMk id="4" creationId="{F6CF1979-500E-3B68-B51B-4F2FB18744A3}"/>
          </ac:spMkLst>
        </pc:spChg>
        <pc:picChg chg="add mod">
          <ac:chgData name="Leonardo Trevizo H" userId="d285aee106cb5dfd" providerId="LiveId" clId="{E346F35C-DBB4-438E-9FE7-93CF25C40883}" dt="2025-07-11T04:20:34.637" v="2161" actId="14100"/>
          <ac:picMkLst>
            <pc:docMk/>
            <pc:sldMk cId="389441947" sldId="2147377059"/>
            <ac:picMk id="5" creationId="{66FE7B25-410D-EE6D-24E0-4B3C126BFD84}"/>
          </ac:picMkLst>
        </pc:picChg>
        <pc:picChg chg="add mod">
          <ac:chgData name="Leonardo Trevizo H" userId="d285aee106cb5dfd" providerId="LiveId" clId="{E346F35C-DBB4-438E-9FE7-93CF25C40883}" dt="2025-07-11T04:20:48.154" v="2164"/>
          <ac:picMkLst>
            <pc:docMk/>
            <pc:sldMk cId="389441947" sldId="2147377059"/>
            <ac:picMk id="8" creationId="{5AB5B7BF-57B9-E298-31C5-44474670795F}"/>
          </ac:picMkLst>
        </pc:picChg>
        <pc:picChg chg="mod">
          <ac:chgData name="Leonardo Trevizo H" userId="d285aee106cb5dfd" providerId="LiveId" clId="{E346F35C-DBB4-438E-9FE7-93CF25C40883}" dt="2025-07-11T04:19:21.446" v="2152" actId="1076"/>
          <ac:picMkLst>
            <pc:docMk/>
            <pc:sldMk cId="389441947" sldId="2147377059"/>
            <ac:picMk id="9" creationId="{1C59B9E0-9E90-360F-FD2C-1E3A70BB310E}"/>
          </ac:picMkLst>
        </pc:picChg>
      </pc:sldChg>
    </pc:docChg>
  </pc:docChgLst>
  <pc:docChgLst>
    <pc:chgData name="Leonardo Trevizo H" userId="d285aee106cb5dfd" providerId="LiveId" clId="{8D2E730C-A453-49A1-8801-6F23F632EC47}"/>
    <pc:docChg chg="custSel addSld delSld modSld">
      <pc:chgData name="Leonardo Trevizo H" userId="d285aee106cb5dfd" providerId="LiveId" clId="{8D2E730C-A453-49A1-8801-6F23F632EC47}" dt="2025-07-14T23:28:56.530" v="520" actId="207"/>
      <pc:docMkLst>
        <pc:docMk/>
      </pc:docMkLst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289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40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441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857445882" sldId="2147376797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4106685361" sldId="214737679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774399355" sldId="2147377002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022615002" sldId="2147377042"/>
        </pc:sldMkLst>
      </pc:sldChg>
      <pc:sldChg chg="modSp mod">
        <pc:chgData name="Leonardo Trevizo H" userId="d285aee106cb5dfd" providerId="LiveId" clId="{8D2E730C-A453-49A1-8801-6F23F632EC47}" dt="2025-07-14T19:57:20.205" v="1" actId="20577"/>
        <pc:sldMkLst>
          <pc:docMk/>
          <pc:sldMk cId="387445325" sldId="2147377043"/>
        </pc:sldMkLst>
        <pc:spChg chg="mod">
          <ac:chgData name="Leonardo Trevizo H" userId="d285aee106cb5dfd" providerId="LiveId" clId="{8D2E730C-A453-49A1-8801-6F23F632EC47}" dt="2025-07-14T19:57:20.205" v="1" actId="20577"/>
          <ac:spMkLst>
            <pc:docMk/>
            <pc:sldMk cId="387445325" sldId="2147377043"/>
            <ac:spMk id="4" creationId="{BCD44CFF-377F-BDD8-86C3-D54CAE1AA376}"/>
          </ac:spMkLst>
        </pc:spChg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1533227966" sldId="2147377044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355645910" sldId="2147377045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3504163205" sldId="2147377046"/>
        </pc:sldMkLst>
      </pc:sldChg>
      <pc:sldChg chg="del">
        <pc:chgData name="Leonardo Trevizo H" userId="d285aee106cb5dfd" providerId="LiveId" clId="{8D2E730C-A453-49A1-8801-6F23F632EC47}" dt="2025-07-14T23:19:02.136" v="510" actId="47"/>
        <pc:sldMkLst>
          <pc:docMk/>
          <pc:sldMk cId="2083196309" sldId="2147377048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4236825882" sldId="2147377049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2318367447" sldId="2147377050"/>
        </pc:sldMkLst>
      </pc:sldChg>
      <pc:sldChg chg="del">
        <pc:chgData name="Leonardo Trevizo H" userId="d285aee106cb5dfd" providerId="LiveId" clId="{8D2E730C-A453-49A1-8801-6F23F632EC47}" dt="2025-07-14T23:18:55.122" v="509" actId="47"/>
        <pc:sldMkLst>
          <pc:docMk/>
          <pc:sldMk cId="0" sldId="2147377051"/>
        </pc:sldMkLst>
      </pc:sldChg>
      <pc:sldChg chg="addSp delSp modSp mod modClrScheme chgLayout">
        <pc:chgData name="Leonardo Trevizo H" userId="d285aee106cb5dfd" providerId="LiveId" clId="{8D2E730C-A453-49A1-8801-6F23F632EC47}" dt="2025-07-14T22:47:03.657" v="32" actId="478"/>
        <pc:sldMkLst>
          <pc:docMk/>
          <pc:sldMk cId="3810529186" sldId="2147377056"/>
        </pc:sldMkLst>
        <pc:spChg chg="mod ord">
          <ac:chgData name="Leonardo Trevizo H" userId="d285aee106cb5dfd" providerId="LiveId" clId="{8D2E730C-A453-49A1-8801-6F23F632EC47}" dt="2025-07-14T22:46:57.893" v="31" actId="20577"/>
          <ac:spMkLst>
            <pc:docMk/>
            <pc:sldMk cId="3810529186" sldId="2147377056"/>
            <ac:spMk id="2" creationId="{E05F99EA-5A21-A226-74BD-C1DE4491C132}"/>
          </ac:spMkLst>
        </pc:spChg>
        <pc:spChg chg="del mod ord">
          <ac:chgData name="Leonardo Trevizo H" userId="d285aee106cb5dfd" providerId="LiveId" clId="{8D2E730C-A453-49A1-8801-6F23F632EC47}" dt="2025-07-14T22:47:03.657" v="32" actId="478"/>
          <ac:spMkLst>
            <pc:docMk/>
            <pc:sldMk cId="3810529186" sldId="2147377056"/>
            <ac:spMk id="3" creationId="{21BE4519-B909-0406-6666-E0252E7BB4CA}"/>
          </ac:spMkLst>
        </pc:spChg>
        <pc:spChg chg="del">
          <ac:chgData name="Leonardo Trevizo H" userId="d285aee106cb5dfd" providerId="LiveId" clId="{8D2E730C-A453-49A1-8801-6F23F632EC47}" dt="2025-07-14T22:46:08.488" v="4" actId="700"/>
          <ac:spMkLst>
            <pc:docMk/>
            <pc:sldMk cId="3810529186" sldId="2147377056"/>
            <ac:spMk id="4" creationId="{CC8B22E5-E146-8ABA-6543-444B9D0B24CC}"/>
          </ac:spMkLst>
        </pc:spChg>
        <pc:spChg chg="add del mod ord">
          <ac:chgData name="Leonardo Trevizo H" userId="d285aee106cb5dfd" providerId="LiveId" clId="{8D2E730C-A453-49A1-8801-6F23F632EC47}" dt="2025-07-14T22:46:42.031" v="7" actId="700"/>
          <ac:spMkLst>
            <pc:docMk/>
            <pc:sldMk cId="3810529186" sldId="2147377056"/>
            <ac:spMk id="6" creationId="{ABCA1ED8-638A-CAB6-5BF5-08ED5D7EB4CE}"/>
          </ac:spMkLst>
        </pc:spChg>
        <pc:spChg chg="add del mod ord">
          <ac:chgData name="Leonardo Trevizo H" userId="d285aee106cb5dfd" providerId="LiveId" clId="{8D2E730C-A453-49A1-8801-6F23F632EC47}" dt="2025-07-14T22:46:42.031" v="7" actId="700"/>
          <ac:spMkLst>
            <pc:docMk/>
            <pc:sldMk cId="3810529186" sldId="2147377056"/>
            <ac:spMk id="7" creationId="{623E7AE5-63BC-D417-89F5-ECAC68E888E7}"/>
          </ac:spMkLst>
        </pc:spChg>
      </pc:sldChg>
      <pc:sldChg chg="modSp mod">
        <pc:chgData name="Leonardo Trevizo H" userId="d285aee106cb5dfd" providerId="LiveId" clId="{8D2E730C-A453-49A1-8801-6F23F632EC47}" dt="2025-07-14T23:28:56.530" v="520" actId="207"/>
        <pc:sldMkLst>
          <pc:docMk/>
          <pc:sldMk cId="689628788" sldId="2147377057"/>
        </pc:sldMkLst>
        <pc:spChg chg="mod">
          <ac:chgData name="Leonardo Trevizo H" userId="d285aee106cb5dfd" providerId="LiveId" clId="{8D2E730C-A453-49A1-8801-6F23F632EC47}" dt="2025-07-14T23:28:52.788" v="519" actId="207"/>
          <ac:spMkLst>
            <pc:docMk/>
            <pc:sldMk cId="689628788" sldId="2147377057"/>
            <ac:spMk id="4" creationId="{94A031DE-597B-F774-A615-BEEBC3034C1A}"/>
          </ac:spMkLst>
        </pc:spChg>
        <pc:spChg chg="mod">
          <ac:chgData name="Leonardo Trevizo H" userId="d285aee106cb5dfd" providerId="LiveId" clId="{8D2E730C-A453-49A1-8801-6F23F632EC47}" dt="2025-07-14T23:28:56.530" v="520" actId="207"/>
          <ac:spMkLst>
            <pc:docMk/>
            <pc:sldMk cId="689628788" sldId="2147377057"/>
            <ac:spMk id="5" creationId="{91B90081-1F84-14C5-AC8B-C3185170F275}"/>
          </ac:spMkLst>
        </pc:spChg>
      </pc:sldChg>
      <pc:sldChg chg="modSp mod">
        <pc:chgData name="Leonardo Trevizo H" userId="d285aee106cb5dfd" providerId="LiveId" clId="{8D2E730C-A453-49A1-8801-6F23F632EC47}" dt="2025-07-14T22:49:45.839" v="66" actId="20577"/>
        <pc:sldMkLst>
          <pc:docMk/>
          <pc:sldMk cId="659352313" sldId="2147377058"/>
        </pc:sldMkLst>
        <pc:spChg chg="mod">
          <ac:chgData name="Leonardo Trevizo H" userId="d285aee106cb5dfd" providerId="LiveId" clId="{8D2E730C-A453-49A1-8801-6F23F632EC47}" dt="2025-07-14T22:49:45.839" v="66" actId="20577"/>
          <ac:spMkLst>
            <pc:docMk/>
            <pc:sldMk cId="659352313" sldId="2147377058"/>
            <ac:spMk id="6" creationId="{DE43976C-846C-AF1B-F607-415E605443F6}"/>
          </ac:spMkLst>
        </pc:spChg>
        <pc:spChg chg="mod">
          <ac:chgData name="Leonardo Trevizo H" userId="d285aee106cb5dfd" providerId="LiveId" clId="{8D2E730C-A453-49A1-8801-6F23F632EC47}" dt="2025-07-14T22:49:12.852" v="38" actId="403"/>
          <ac:spMkLst>
            <pc:docMk/>
            <pc:sldMk cId="659352313" sldId="2147377058"/>
            <ac:spMk id="12" creationId="{1AFE586A-C339-35ED-A77D-54F0A86D4875}"/>
          </ac:spMkLst>
        </pc:spChg>
        <pc:spChg chg="mod">
          <ac:chgData name="Leonardo Trevizo H" userId="d285aee106cb5dfd" providerId="LiveId" clId="{8D2E730C-A453-49A1-8801-6F23F632EC47}" dt="2025-07-14T22:48:49.188" v="37" actId="207"/>
          <ac:spMkLst>
            <pc:docMk/>
            <pc:sldMk cId="659352313" sldId="2147377058"/>
            <ac:spMk id="13" creationId="{8DB647C5-1F2D-0B9C-7584-3C9E3C384B73}"/>
          </ac:spMkLst>
        </pc:spChg>
        <pc:spChg chg="mod">
          <ac:chgData name="Leonardo Trevizo H" userId="d285aee106cb5dfd" providerId="LiveId" clId="{8D2E730C-A453-49A1-8801-6F23F632EC47}" dt="2025-07-14T22:49:16.090" v="39" actId="403"/>
          <ac:spMkLst>
            <pc:docMk/>
            <pc:sldMk cId="659352313" sldId="2147377058"/>
            <ac:spMk id="14" creationId="{68D2FD07-6595-2155-0C64-209E0F2201D0}"/>
          </ac:spMkLst>
        </pc:spChg>
        <pc:spChg chg="mod">
          <ac:chgData name="Leonardo Trevizo H" userId="d285aee106cb5dfd" providerId="LiveId" clId="{8D2E730C-A453-49A1-8801-6F23F632EC47}" dt="2025-07-14T22:49:19.022" v="40" actId="403"/>
          <ac:spMkLst>
            <pc:docMk/>
            <pc:sldMk cId="659352313" sldId="2147377058"/>
            <ac:spMk id="16" creationId="{41EE5271-C080-EDA8-D2C2-157C7D9C732A}"/>
          </ac:spMkLst>
        </pc:spChg>
        <pc:spChg chg="mod">
          <ac:chgData name="Leonardo Trevizo H" userId="d285aee106cb5dfd" providerId="LiveId" clId="{8D2E730C-A453-49A1-8801-6F23F632EC47}" dt="2025-07-14T22:48:44.203" v="35" actId="207"/>
          <ac:spMkLst>
            <pc:docMk/>
            <pc:sldMk cId="659352313" sldId="2147377058"/>
            <ac:spMk id="17" creationId="{4920AD9F-1D1F-8482-3D55-92850F3411F4}"/>
          </ac:spMkLst>
        </pc:spChg>
        <pc:spChg chg="mod">
          <ac:chgData name="Leonardo Trevizo H" userId="d285aee106cb5dfd" providerId="LiveId" clId="{8D2E730C-A453-49A1-8801-6F23F632EC47}" dt="2025-07-14T22:49:22.042" v="41" actId="403"/>
          <ac:spMkLst>
            <pc:docMk/>
            <pc:sldMk cId="659352313" sldId="2147377058"/>
            <ac:spMk id="18" creationId="{9146B71E-1D86-769B-8D51-C3D972F77367}"/>
          </ac:spMkLst>
        </pc:spChg>
        <pc:spChg chg="mod">
          <ac:chgData name="Leonardo Trevizo H" userId="d285aee106cb5dfd" providerId="LiveId" clId="{8D2E730C-A453-49A1-8801-6F23F632EC47}" dt="2025-07-14T22:49:24.293" v="42" actId="403"/>
          <ac:spMkLst>
            <pc:docMk/>
            <pc:sldMk cId="659352313" sldId="2147377058"/>
            <ac:spMk id="26" creationId="{ADC7E046-0DC4-6EF2-4DA7-DE4D20605505}"/>
          </ac:spMkLst>
        </pc:spChg>
      </pc:sldChg>
      <pc:sldChg chg="modSp mod">
        <pc:chgData name="Leonardo Trevizo H" userId="d285aee106cb5dfd" providerId="LiveId" clId="{8D2E730C-A453-49A1-8801-6F23F632EC47}" dt="2025-07-14T19:57:25.929" v="3" actId="20577"/>
        <pc:sldMkLst>
          <pc:docMk/>
          <pc:sldMk cId="389441947" sldId="2147377059"/>
        </pc:sldMkLst>
        <pc:spChg chg="mod">
          <ac:chgData name="Leonardo Trevizo H" userId="d285aee106cb5dfd" providerId="LiveId" clId="{8D2E730C-A453-49A1-8801-6F23F632EC47}" dt="2025-07-14T19:57:25.929" v="3" actId="20577"/>
          <ac:spMkLst>
            <pc:docMk/>
            <pc:sldMk cId="389441947" sldId="2147377059"/>
            <ac:spMk id="4" creationId="{F6CF1979-500E-3B68-B51B-4F2FB18744A3}"/>
          </ac:spMkLst>
        </pc:spChg>
      </pc:sldChg>
      <pc:sldChg chg="new del">
        <pc:chgData name="Leonardo Trevizo H" userId="d285aee106cb5dfd" providerId="LiveId" clId="{8D2E730C-A453-49A1-8801-6F23F632EC47}" dt="2025-07-14T23:18:55.122" v="509" actId="47"/>
        <pc:sldMkLst>
          <pc:docMk/>
          <pc:sldMk cId="4133993938" sldId="214737706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C923622-40DB-AE0B-C389-B417A324A6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9674A-3241-E5DD-960C-19F10392181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A1E2DE-B349-47A3-920B-44F944D2FBF5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0AD1B1-2421-83C2-24E9-1D1488821C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C5210E-9308-8192-CE74-F74906416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4EAAD1-06BE-43B8-9B88-5A648DC0A1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941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123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522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6DEE28-AF13-0270-F0E7-467899A987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A682F0-72D0-EF91-9070-DD9F27A633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26DF56-6885-F855-C86F-5E868159CD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320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564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9E12A-226D-3901-3602-50A75F0DA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036F1F5-C8B9-B06B-E439-EDB95556C4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E6DE7A-F70E-4872-1B58-A89D68F89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1719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108BCC-0FD4-D055-ED61-0BF8BB6C3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C6A7F3-0EA6-9661-86A4-CF9AF9A4AC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885AF3-0F42-B76F-0E74-EB73FEDBA7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0608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619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15.emf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18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0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1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microsoft.com/office/2007/relationships/hdphoto" Target="../media/hdphoto1.wdp"/><Relationship Id="rId5" Type="http://schemas.openxmlformats.org/officeDocument/2006/relationships/image" Target="../media/image22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alt 2" preserve="1">
  <p:cSld name="Purple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781A59-D409-4780-928D-BAE35209F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460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781A59-D409-4780-928D-BAE35209F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g8d09728e15_0_479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36" y="288321"/>
            <a:ext cx="2327563" cy="46632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;g8d09728e15_0_479"/>
          <p:cNvSpPr txBox="1">
            <a:spLocks noGrp="1"/>
          </p:cNvSpPr>
          <p:nvPr>
            <p:ph type="title"/>
          </p:nvPr>
        </p:nvSpPr>
        <p:spPr>
          <a:xfrm>
            <a:off x="330334" y="2855261"/>
            <a:ext cx="7759500" cy="56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  <a:defRPr sz="3200" b="1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g8d09728e15_0_479"/>
          <p:cNvSpPr txBox="1">
            <a:spLocks noGrp="1"/>
          </p:cNvSpPr>
          <p:nvPr>
            <p:ph type="subTitle" idx="1"/>
          </p:nvPr>
        </p:nvSpPr>
        <p:spPr>
          <a:xfrm>
            <a:off x="333171" y="345025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g8d09728e15_0_479"/>
          <p:cNvSpPr/>
          <p:nvPr/>
        </p:nvSpPr>
        <p:spPr>
          <a:xfrm>
            <a:off x="335325" y="4696375"/>
            <a:ext cx="4446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FIDENTIAL AND PROPRIETA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00" b="0" i="0" u="none" strike="noStrike" cap="none" dirty="0">
                <a:solidFill>
                  <a:srgbClr val="C0C0C0"/>
                </a:solidFill>
                <a:latin typeface="Calibri"/>
                <a:ea typeface="Calibri"/>
                <a:cs typeface="Calibri"/>
                <a:sym typeface="Calibri"/>
              </a:rPr>
              <a:t>© Encora 2025.  Any use of this material without specific permission is strictly prohibit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g8d09728e15_0_479"/>
          <p:cNvSpPr txBox="1">
            <a:spLocks noGrp="1"/>
          </p:cNvSpPr>
          <p:nvPr>
            <p:ph type="subTitle" idx="2"/>
          </p:nvPr>
        </p:nvSpPr>
        <p:spPr>
          <a:xfrm>
            <a:off x="5537775" y="4385675"/>
            <a:ext cx="3470100" cy="68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D9D9D9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8d09728e15_0_479"/>
          <p:cNvSpPr txBox="1">
            <a:spLocks noGrp="1"/>
          </p:cNvSpPr>
          <p:nvPr>
            <p:ph type="subTitle" idx="3"/>
          </p:nvPr>
        </p:nvSpPr>
        <p:spPr>
          <a:xfrm>
            <a:off x="333171" y="3784400"/>
            <a:ext cx="4935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91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3">
          <p15:clr>
            <a:srgbClr val="FA7B17"/>
          </p15:clr>
        </p15:guide>
        <p15:guide id="2" orient="horz" pos="2520">
          <p15:clr>
            <a:srgbClr val="FA7B17"/>
          </p15:clr>
        </p15:guide>
        <p15:guide id="3" pos="262">
          <p15:clr>
            <a:srgbClr val="FA7B17"/>
          </p15:clr>
        </p15:guide>
        <p15:guide id="4" orient="horz" pos="2958">
          <p15:clr>
            <a:srgbClr val="FA7B17"/>
          </p15:clr>
        </p15:guide>
        <p15:guide id="5" orient="horz" pos="319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32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25">
            <a:extLst>
              <a:ext uri="{FF2B5EF4-FFF2-40B4-BE49-F238E27FC236}">
                <a16:creationId xmlns:a16="http://schemas.microsoft.com/office/drawing/2014/main" id="{E0A77C9C-662E-4DFA-9CE9-D2A8CE5CF0F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2519570"/>
          </a:xfrm>
          <a:prstGeom prst="rect">
            <a:avLst/>
          </a:prstGeom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9;p28">
            <a:extLst>
              <a:ext uri="{FF2B5EF4-FFF2-40B4-BE49-F238E27FC236}">
                <a16:creationId xmlns:a16="http://schemas.microsoft.com/office/drawing/2014/main" id="{F6A8575F-8EC8-F1B0-75BE-185EBAD10DF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21949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8EE039D8-C5AD-89C1-F728-194388EF113D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A61A52E3-520F-19CB-D90E-FC709269B91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920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Lef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47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" descr="Image 1">
            <a:extLst>
              <a:ext uri="{FF2B5EF4-FFF2-40B4-BE49-F238E27FC236}">
                <a16:creationId xmlns:a16="http://schemas.microsoft.com/office/drawing/2014/main" id="{DE750228-9F62-3A8B-877A-959F3BE9DD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4854259" cy="5143500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29;p28">
            <a:extLst>
              <a:ext uri="{FF2B5EF4-FFF2-40B4-BE49-F238E27FC236}">
                <a16:creationId xmlns:a16="http://schemas.microsoft.com/office/drawing/2014/main" id="{C05EB109-A11E-FE2C-529A-B923CF3184B4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1234A672-BD9C-0BDA-6405-E972E7761BA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6E7994B4-AE64-881D-EABB-F8B2CCB6CE6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8C5676B5-2F65-7E37-B2AB-A5A2DADC9A6F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4825387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Content - Light Purple (Right)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269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" descr="Image 1">
            <a:extLst>
              <a:ext uri="{FF2B5EF4-FFF2-40B4-BE49-F238E27FC236}">
                <a16:creationId xmlns:a16="http://schemas.microsoft.com/office/drawing/2014/main" id="{4CB3F2F3-2E40-6A7E-15F6-650B627A748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3982" y="0"/>
            <a:ext cx="4960018" cy="5146381"/>
          </a:xfrm>
          <a:prstGeom prst="rect">
            <a:avLst/>
          </a:prstGeom>
          <a:ln w="3175">
            <a:miter lim="400000"/>
          </a:ln>
        </p:spPr>
      </p:pic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6;p28">
            <a:extLst>
              <a:ext uri="{FF2B5EF4-FFF2-40B4-BE49-F238E27FC236}">
                <a16:creationId xmlns:a16="http://schemas.microsoft.com/office/drawing/2014/main" id="{13F3D048-EBFF-D5B2-C38F-350FC67BE90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7" name="Google Shape;35;g8d09728e15_0_47">
            <a:extLst>
              <a:ext uri="{FF2B5EF4-FFF2-40B4-BE49-F238E27FC236}">
                <a16:creationId xmlns:a16="http://schemas.microsoft.com/office/drawing/2014/main" id="{D947E119-E3D6-062D-80BD-F83977F0F5DA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" name="Google Shape;29;p28">
            <a:extLst>
              <a:ext uri="{FF2B5EF4-FFF2-40B4-BE49-F238E27FC236}">
                <a16:creationId xmlns:a16="http://schemas.microsoft.com/office/drawing/2014/main" id="{CEE79A5D-7A08-45D9-6DA2-D70F911EEE4C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29;p28">
            <a:extLst>
              <a:ext uri="{FF2B5EF4-FFF2-40B4-BE49-F238E27FC236}">
                <a16:creationId xmlns:a16="http://schemas.microsoft.com/office/drawing/2014/main" id="{F11EE9D8-FC76-84D6-D9C4-8A307BDEE7C0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4745473" y="1451525"/>
            <a:ext cx="4136604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82CBF7F4-FBC8-0BDC-FB19-1509C3AC5FD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2E5BCAC7-AFAA-E5B9-468E-A7B2C154AF6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53503553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- Light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088D5E-0C25-4C88-9FE3-52FEBABF1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04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088D5E-0C25-4C88-9FE3-52FEBABF1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0" descr="Image 0">
            <a:extLst>
              <a:ext uri="{FF2B5EF4-FFF2-40B4-BE49-F238E27FC236}">
                <a16:creationId xmlns:a16="http://schemas.microsoft.com/office/drawing/2014/main" id="{A0DD152A-ED92-A5FA-29EB-4480F87E7CD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0"/>
            <a:ext cx="9144000" cy="2285714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Google Shape;26;p28">
            <a:extLst>
              <a:ext uri="{FF2B5EF4-FFF2-40B4-BE49-F238E27FC236}">
                <a16:creationId xmlns:a16="http://schemas.microsoft.com/office/drawing/2014/main" id="{196C2D60-B410-4EA4-BEA1-B4E052B34B8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3" name="Google Shape;35;g8d09728e15_0_47">
            <a:extLst>
              <a:ext uri="{FF2B5EF4-FFF2-40B4-BE49-F238E27FC236}">
                <a16:creationId xmlns:a16="http://schemas.microsoft.com/office/drawing/2014/main" id="{3100D095-DA18-4CBC-88C3-A493933CC1C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0" name="Google Shape;28;p28">
            <a:extLst>
              <a:ext uri="{FF2B5EF4-FFF2-40B4-BE49-F238E27FC236}">
                <a16:creationId xmlns:a16="http://schemas.microsoft.com/office/drawing/2014/main" id="{BDFDC970-B2B2-472D-B764-1297EE8FEA07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3144F3CD-701B-FB6F-A0C5-A9BBF7686D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2365657"/>
            <a:ext cx="8610439" cy="237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229A4F0-3F6B-E088-4C30-C95AB1437F00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7" name="Google Shape;24;p28">
            <a:extLst>
              <a:ext uri="{FF2B5EF4-FFF2-40B4-BE49-F238E27FC236}">
                <a16:creationId xmlns:a16="http://schemas.microsoft.com/office/drawing/2014/main" id="{E7F75087-AC6A-DCFC-5D24-8E90658E7AB7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09082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1_Content - Whit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271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FE566E-EBBA-775B-CB37-DE167895FDB5}"/>
              </a:ext>
            </a:extLst>
          </p:cNvPr>
          <p:cNvSpPr/>
          <p:nvPr userDrawn="1"/>
        </p:nvSpPr>
        <p:spPr>
          <a:xfrm>
            <a:off x="0" y="0"/>
            <a:ext cx="9144000" cy="4592225"/>
          </a:xfrm>
          <a:prstGeom prst="rect">
            <a:avLst/>
          </a:prstGeom>
          <a:solidFill>
            <a:srgbClr val="25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latin typeface="IBM Plex Sans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5" name="Google Shape;37;g8d09728e15_0_47">
            <a:extLst>
              <a:ext uri="{FF2B5EF4-FFF2-40B4-BE49-F238E27FC236}">
                <a16:creationId xmlns:a16="http://schemas.microsoft.com/office/drawing/2014/main" id="{0A66FB5C-87FF-D0E1-7906-4B8249644632}"/>
              </a:ext>
            </a:extLst>
          </p:cNvPr>
          <p:cNvPicPr preferRelativeResize="0"/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9;p28">
            <a:extLst>
              <a:ext uri="{FF2B5EF4-FFF2-40B4-BE49-F238E27FC236}">
                <a16:creationId xmlns:a16="http://schemas.microsoft.com/office/drawing/2014/main" id="{93D308DB-B9C4-49DB-CC65-681F2CCD810B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chemeClr val="bg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7" name="Google Shape;25;p28">
            <a:extLst>
              <a:ext uri="{FF2B5EF4-FFF2-40B4-BE49-F238E27FC236}">
                <a16:creationId xmlns:a16="http://schemas.microsoft.com/office/drawing/2014/main" id="{CC71005C-8204-AD48-C485-F60EE3221D6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D907E528-E3E5-1B87-67BD-76C6F855144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676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1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8">
            <a:extLst>
              <a:ext uri="{FF2B5EF4-FFF2-40B4-BE49-F238E27FC236}">
                <a16:creationId xmlns:a16="http://schemas.microsoft.com/office/drawing/2014/main" id="{B2D25745-B546-4AAA-91A7-E7E9D74675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4" name="Google Shape;15;p29">
            <a:extLst>
              <a:ext uri="{FF2B5EF4-FFF2-40B4-BE49-F238E27FC236}">
                <a16:creationId xmlns:a16="http://schemas.microsoft.com/office/drawing/2014/main" id="{72D2AE0E-D9E1-6B1F-832E-DA9E3F9ED74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89E1D04-E28C-9BB3-64D7-7A8C075FEE7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27BF5520-21D7-010E-71C5-353FEBA5ED9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59091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Yellow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05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7">
            <a:extLst>
              <a:ext uri="{FF2B5EF4-FFF2-40B4-BE49-F238E27FC236}">
                <a16:creationId xmlns:a16="http://schemas.microsoft.com/office/drawing/2014/main" id="{7CB57D86-AF4D-4976-9A6C-8B702E5201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4" y="0"/>
            <a:ext cx="2218545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9D83BBC-F4AF-BD6F-11A3-FC56F84847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A0F418E9-C3D5-9E32-C8BF-999F99B646E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F56FE11-AC29-78B9-1E63-C85FC11BD201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88542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Red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53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10">
            <a:extLst>
              <a:ext uri="{FF2B5EF4-FFF2-40B4-BE49-F238E27FC236}">
                <a16:creationId xmlns:a16="http://schemas.microsoft.com/office/drawing/2014/main" id="{DD20F912-0A2B-40A6-A7AF-0579D11EE4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2A252E31-765D-9065-99A7-E0AAE83D4A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36FA677-C60F-C25B-49FA-3A480E52520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1F7F4DB0-CDEC-6C35-111C-8CF82743E9A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2818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en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645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FA41ED2C-CEA8-4F1E-867D-2A71E8726D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EFEF6E83-C7FD-80A2-D538-395CDE1EA07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5B726A6B-F9A2-07C5-17F9-51D65552FAD9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E9B2D76E-5C48-1EA7-706B-DA07B43E4890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3605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99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9">
            <a:extLst>
              <a:ext uri="{FF2B5EF4-FFF2-40B4-BE49-F238E27FC236}">
                <a16:creationId xmlns:a16="http://schemas.microsoft.com/office/drawing/2014/main" id="{1B3F76CB-0124-47EE-B951-5BE665CB8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BC82511-EEC6-8E8D-1C0D-A924FC68EB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3EE1886B-9A12-3A78-3E94-3B742393143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D9AEDCAE-6935-E6A9-CF23-18E9BD6FB20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08840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1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5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28"/>
          <p:cNvSpPr txBox="1"/>
          <p:nvPr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Insert declarative statement or imperative (one line)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0642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Grey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62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A7B259F-26CD-4ABD-BF24-0079E4EFB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F3E85A0F-DCFE-2949-EA45-1F41F6CA9B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9B8F005A-A9CD-D0A5-D4CB-C0E33E44002F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4688E7D1-8031-CB34-0E5B-F01BDB0AFA66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9744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hapter - Dark Blu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89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14D2D916-4C0A-4C8A-9266-4177AA457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5456" y="0"/>
            <a:ext cx="2218544" cy="5143500"/>
          </a:xfrm>
          <a:prstGeom prst="rect">
            <a:avLst/>
          </a:prstGeom>
        </p:spPr>
      </p:pic>
      <p:sp>
        <p:nvSpPr>
          <p:cNvPr id="3" name="Google Shape;15;p29">
            <a:extLst>
              <a:ext uri="{FF2B5EF4-FFF2-40B4-BE49-F238E27FC236}">
                <a16:creationId xmlns:a16="http://schemas.microsoft.com/office/drawing/2014/main" id="{68B934C1-D0BD-D3B7-17C4-B338E38F4C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44197E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25;p28">
            <a:extLst>
              <a:ext uri="{FF2B5EF4-FFF2-40B4-BE49-F238E27FC236}">
                <a16:creationId xmlns:a16="http://schemas.microsoft.com/office/drawing/2014/main" id="{CAAD7DE3-956C-98F8-B0BB-FF2FE66D9A4B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B1DA27BB-5EBA-71A9-943E-D89271EB797A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42450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9D6CAC-079A-4C0C-9E95-15C5DEE6E7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4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8" imgH="670" progId="TCLayout.ActiveDocument.1">
                  <p:embed/>
                </p:oleObj>
              </mc:Choice>
              <mc:Fallback>
                <p:oleObj name="think-cell Slide" r:id="rId4" imgW="668" imgH="6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9D6CAC-079A-4C0C-9E95-15C5DEE6E7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27;p12">
            <a:extLst>
              <a:ext uri="{FF2B5EF4-FFF2-40B4-BE49-F238E27FC236}">
                <a16:creationId xmlns:a16="http://schemas.microsoft.com/office/drawing/2014/main" id="{2416DEF2-76A2-4DC7-8535-A36DA50BC677}"/>
              </a:ext>
            </a:extLst>
          </p:cNvPr>
          <p:cNvPicPr preferRelativeResize="0"/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900"/>
          <a:stretch/>
        </p:blipFill>
        <p:spPr>
          <a:xfrm>
            <a:off x="8469310" y="4739843"/>
            <a:ext cx="259425" cy="23522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5;p28">
            <a:extLst>
              <a:ext uri="{FF2B5EF4-FFF2-40B4-BE49-F238E27FC236}">
                <a16:creationId xmlns:a16="http://schemas.microsoft.com/office/drawing/2014/main" id="{31E382B2-2C5C-1200-6CD3-E91C4B518A8C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3330342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White (2-Line Header)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21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68" imgH="670" progId="TCLayout.ActiveDocument.1">
                  <p:embed/>
                </p:oleObj>
              </mc:Choice>
              <mc:Fallback>
                <p:oleObj name="think-cell Slide" r:id="rId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Use this slide template for headlines that require two lines of text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696805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AutoShape 8">
            <a:extLst>
              <a:ext uri="{FF2B5EF4-FFF2-40B4-BE49-F238E27FC236}">
                <a16:creationId xmlns:a16="http://schemas.microsoft.com/office/drawing/2014/main" id="{399051AD-1433-AF0F-2CF6-DDC801478B8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7568876" y="696805"/>
            <a:ext cx="1346522" cy="1538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374650" indent="-179388" defTabSz="895350">
              <a:buClr>
                <a:schemeClr val="tx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519113" indent="-142875" defTabSz="89535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663575" indent="-142875" defTabSz="895350"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11207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15779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20351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2492375" indent="-1428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algn="r" eaLnBrk="1" hangingPunct="1"/>
            <a:r>
              <a:rPr lang="en-US" altLang="en-US" sz="1000" b="1" dirty="0">
                <a:solidFill>
                  <a:srgbClr val="C33131"/>
                </a:solidFill>
                <a:latin typeface="Arial" panose="020B0604020202020204" pitchFamily="34" charset="0"/>
              </a:rPr>
              <a:t>STICKER (OPTIONAL)</a:t>
            </a:r>
          </a:p>
        </p:txBody>
      </p:sp>
      <p:cxnSp>
        <p:nvCxnSpPr>
          <p:cNvPr id="4" name="AutoShape 9">
            <a:extLst>
              <a:ext uri="{FF2B5EF4-FFF2-40B4-BE49-F238E27FC236}">
                <a16:creationId xmlns:a16="http://schemas.microsoft.com/office/drawing/2014/main" id="{75E52EA5-8D6F-8176-F24A-97C159E09B1E}"/>
              </a:ext>
            </a:extLst>
          </p:cNvPr>
          <p:cNvCxnSpPr>
            <a:cxnSpLocks noChangeShapeType="1"/>
            <a:stCxn id="3" idx="2"/>
            <a:endCxn id="3" idx="0"/>
          </p:cNvCxnSpPr>
          <p:nvPr userDrawn="1">
            <p:custDataLst>
              <p:tags r:id="rId3"/>
            </p:custDataLst>
          </p:nvPr>
        </p:nvCxnSpPr>
        <p:spPr bwMode="auto">
          <a:xfrm>
            <a:off x="7568876" y="696805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AutoShape 10">
            <a:extLst>
              <a:ext uri="{FF2B5EF4-FFF2-40B4-BE49-F238E27FC236}">
                <a16:creationId xmlns:a16="http://schemas.microsoft.com/office/drawing/2014/main" id="{03610109-09F1-67F8-FCB6-DF9B4F349832}"/>
              </a:ext>
            </a:extLst>
          </p:cNvPr>
          <p:cNvCxnSpPr>
            <a:cxnSpLocks noChangeShapeType="1"/>
            <a:stCxn id="3" idx="4"/>
            <a:endCxn id="3" idx="6"/>
          </p:cNvCxnSpPr>
          <p:nvPr userDrawn="1">
            <p:custDataLst>
              <p:tags r:id="rId4"/>
            </p:custDataLst>
          </p:nvPr>
        </p:nvCxnSpPr>
        <p:spPr bwMode="auto">
          <a:xfrm>
            <a:off x="7568876" y="850693"/>
            <a:ext cx="1346522" cy="0"/>
          </a:xfrm>
          <a:prstGeom prst="straightConnector1">
            <a:avLst/>
          </a:prstGeom>
          <a:noFill/>
          <a:ln w="9525">
            <a:solidFill>
              <a:srgbClr val="C331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E345FAD9-4D20-FCD3-5CD1-9C0C57E17B2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06328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fidential Content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4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28"/>
          <p:cNvSpPr txBox="1"/>
          <p:nvPr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26" name="Google Shape;26;p28"/>
          <p:cNvSpPr txBox="1">
            <a:spLocks noGrp="1"/>
          </p:cNvSpPr>
          <p:nvPr>
            <p:ph type="title" hasCustomPrompt="1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onfidential info on this slide not to be distributed</a:t>
            </a:r>
            <a:endParaRPr dirty="0"/>
          </a:p>
        </p:txBody>
      </p:sp>
      <p:sp>
        <p:nvSpPr>
          <p:cNvPr id="10" name="Google Shape;29;p28">
            <a:extLst>
              <a:ext uri="{FF2B5EF4-FFF2-40B4-BE49-F238E27FC236}">
                <a16:creationId xmlns:a16="http://schemas.microsoft.com/office/drawing/2014/main" id="{3C6AA4C6-C405-4B44-B8A5-1A5453710B68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727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1" name="Google Shape;28;p28">
            <a:extLst>
              <a:ext uri="{FF2B5EF4-FFF2-40B4-BE49-F238E27FC236}">
                <a16:creationId xmlns:a16="http://schemas.microsoft.com/office/drawing/2014/main" id="{9724BE23-2BD4-4011-9247-F35F78E253DA}"/>
              </a:ext>
            </a:extLst>
          </p:cNvPr>
          <p:cNvPicPr preferRelativeResize="0"/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2E45E1-B8EC-5742-BDC5-7EB75F365699}"/>
              </a:ext>
            </a:extLst>
          </p:cNvPr>
          <p:cNvSpPr/>
          <p:nvPr userDrawn="1"/>
        </p:nvSpPr>
        <p:spPr>
          <a:xfrm>
            <a:off x="0" y="0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15B7E9-6E3E-6307-AC4C-C846BF834F0B}"/>
              </a:ext>
            </a:extLst>
          </p:cNvPr>
          <p:cNvSpPr/>
          <p:nvPr userDrawn="1"/>
        </p:nvSpPr>
        <p:spPr>
          <a:xfrm>
            <a:off x="0" y="5002295"/>
            <a:ext cx="9144000" cy="14120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800" i="1" dirty="0">
                <a:latin typeface="IBM Plex Sans" panose="020B0604020202020204" charset="0"/>
                <a:cs typeface="Calibri" panose="020F0502020204030204" pitchFamily="34" charset="0"/>
              </a:rPr>
              <a:t>CONFIDENTIAL – NOT FOR DISTRIBUTION || CONFIDENTIAL – NOT FOR DISTRIBUTION || CONFIDENTIAL – NOT FOR DISTRIBUTION || CONFIDENTIAL – NOT FOR DISTRIBUTION</a:t>
            </a:r>
          </a:p>
        </p:txBody>
      </p:sp>
      <p:sp>
        <p:nvSpPr>
          <p:cNvPr id="5" name="Google Shape;24;p28">
            <a:extLst>
              <a:ext uri="{FF2B5EF4-FFF2-40B4-BE49-F238E27FC236}">
                <a16:creationId xmlns:a16="http://schemas.microsoft.com/office/drawing/2014/main" id="{62616F3A-D2F2-F047-92F0-F82BEEA0C68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59621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hite - Purple Header" preserve="1" userDrawn="1">
  <p:cSld name="Content - Purple">
    <p:bg>
      <p:bgPr>
        <a:solidFill>
          <a:schemeClr val="lt1"/>
        </a:solidFill>
        <a:effectLst/>
      </p:bgPr>
    </p:bg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1D2667-09CB-406A-8235-1109AC12A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71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1D2667-09CB-406A-8235-1109AC12A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oogle Shape;31;g8d09728e15_0_47"/>
          <p:cNvPicPr preferRelativeResize="0"/>
          <p:nvPr/>
        </p:nvPicPr>
        <p:blipFill rotWithShape="1">
          <a:blip r:embed="rId5" cstate="print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"/>
          <a:stretch/>
        </p:blipFill>
        <p:spPr>
          <a:xfrm rot="10800000">
            <a:off x="0" y="-75"/>
            <a:ext cx="9144000" cy="819300"/>
          </a:xfrm>
          <a:prstGeom prst="round1Rect">
            <a:avLst>
              <a:gd name="adj" fmla="val 50000"/>
            </a:avLst>
          </a:prstGeom>
          <a:noFill/>
          <a:ln>
            <a:noFill/>
          </a:ln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C3144D9-1C6C-0AB6-86DB-B1C6EACBA88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21226" y="279224"/>
            <a:ext cx="1394177" cy="282923"/>
          </a:xfrm>
          <a:prstGeom prst="rect">
            <a:avLst/>
          </a:prstGeom>
        </p:spPr>
      </p:pic>
      <p:sp>
        <p:nvSpPr>
          <p:cNvPr id="34" name="Google Shape;34;g8d09728e15_0_47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72700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35" name="Google Shape;35;g8d09728e15_0_47"/>
          <p:cNvSpPr txBox="1">
            <a:spLocks noGrp="1"/>
          </p:cNvSpPr>
          <p:nvPr>
            <p:ph type="subTitle" idx="1"/>
          </p:nvPr>
        </p:nvSpPr>
        <p:spPr>
          <a:xfrm>
            <a:off x="261850" y="726685"/>
            <a:ext cx="8653500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42160ABD-E79E-C315-BCEA-65A63118B135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A702F0AA-24C7-918D-BA3F-0D1CBA6EF22A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979F132A-53B8-190F-1235-E240361DEE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44891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  <p15:guide id="11" orient="horz" pos="516">
          <p15:clr>
            <a:srgbClr val="FA7B17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- White" preserve="1" userDrawn="1">
  <p:cSld name="Content - Light Purple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C58769-7A25-4430-9D84-126C76E46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7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C58769-7A25-4430-9D84-126C76E46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92CF6977-2D2F-0346-3EF0-249496E0E7E8}"/>
              </a:ext>
            </a:extLst>
          </p:cNvPr>
          <p:cNvGrpSpPr/>
          <p:nvPr userDrawn="1"/>
        </p:nvGrpSpPr>
        <p:grpSpPr>
          <a:xfrm>
            <a:off x="1" y="1"/>
            <a:ext cx="9144000" cy="1383332"/>
            <a:chOff x="0" y="0"/>
            <a:chExt cx="16258033" cy="2459565"/>
          </a:xfrm>
        </p:grpSpPr>
        <p:pic>
          <p:nvPicPr>
            <p:cNvPr id="6" name="Image 0" descr="Image 0">
              <a:extLst>
                <a:ext uri="{FF2B5EF4-FFF2-40B4-BE49-F238E27FC236}">
                  <a16:creationId xmlns:a16="http://schemas.microsoft.com/office/drawing/2014/main" id="{D55D02E1-3631-6548-8502-186DAFE6CE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6258033" cy="1612900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7" name="Image 1" descr="Image 1">
              <a:extLst>
                <a:ext uri="{FF2B5EF4-FFF2-40B4-BE49-F238E27FC236}">
                  <a16:creationId xmlns:a16="http://schemas.microsoft.com/office/drawing/2014/main" id="{29F6AD1F-275B-9DCA-364C-69C0126038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0" y="1612900"/>
              <a:ext cx="846771" cy="846665"/>
            </a:xfrm>
            <a:prstGeom prst="rect">
              <a:avLst/>
            </a:prstGeom>
            <a:ln w="3175">
              <a:miter lim="400000"/>
            </a:ln>
          </p:spPr>
        </p:pic>
      </p:grpSp>
      <p:sp>
        <p:nvSpPr>
          <p:cNvPr id="26" name="Google Shape;26;p28"/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109214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44197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Google Shape;35;g8d09728e15_0_47">
            <a:extLst>
              <a:ext uri="{FF2B5EF4-FFF2-40B4-BE49-F238E27FC236}">
                <a16:creationId xmlns:a16="http://schemas.microsoft.com/office/drawing/2014/main" id="{DA183329-16D9-452C-8963-B4F08933A277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109214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pic>
        <p:nvPicPr>
          <p:cNvPr id="12" name="Google Shape;28;p28">
            <a:extLst>
              <a:ext uri="{FF2B5EF4-FFF2-40B4-BE49-F238E27FC236}">
                <a16:creationId xmlns:a16="http://schemas.microsoft.com/office/drawing/2014/main" id="{7F14B27B-D10A-A3FF-F632-4C69A3CA20D7}"/>
              </a:ext>
            </a:extLst>
          </p:cNvPr>
          <p:cNvPicPr preferRelativeResize="0"/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CA75AF49-A157-96DA-5B23-4843D59E121D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8653500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F6C5C37C-3F19-C9B0-25C3-56EA1D66B10E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3" name="Google Shape;24;p28">
            <a:extLst>
              <a:ext uri="{FF2B5EF4-FFF2-40B4-BE49-F238E27FC236}">
                <a16:creationId xmlns:a16="http://schemas.microsoft.com/office/drawing/2014/main" id="{66071645-E650-F8E6-BAB8-2EB9F58FC299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306370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A7B17"/>
          </p15:clr>
        </p15:guide>
        <p15:guide id="2" orient="horz" pos="216">
          <p15:clr>
            <a:srgbClr val="FA7B17"/>
          </p15:clr>
        </p15:guide>
        <p15:guide id="3" orient="horz" pos="863">
          <p15:clr>
            <a:srgbClr val="FA7B17"/>
          </p15:clr>
        </p15:guide>
        <p15:guide id="4" orient="horz" pos="563">
          <p15:clr>
            <a:srgbClr val="FA7B17"/>
          </p15:clr>
        </p15:guide>
        <p15:guide id="5" orient="horz" pos="914">
          <p15:clr>
            <a:srgbClr val="FA7B17"/>
          </p15:clr>
        </p15:guide>
        <p15:guide id="6" pos="216">
          <p15:clr>
            <a:srgbClr val="FA7B17"/>
          </p15:clr>
        </p15:guide>
        <p15:guide id="7" pos="5616">
          <p15:clr>
            <a:srgbClr val="FA7B17"/>
          </p15:clr>
        </p15:guide>
        <p15:guide id="8" pos="165">
          <p15:clr>
            <a:srgbClr val="FA7B17"/>
          </p15:clr>
        </p15:guide>
        <p15:guide id="9" orient="horz" pos="2965">
          <p15:clr>
            <a:srgbClr val="FA7B17"/>
          </p15:clr>
        </p15:guide>
        <p15:guide id="10" orient="horz" pos="2911">
          <p15:clr>
            <a:srgbClr val="FA7B17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" preserve="1">
  <p:cSld name="Section Header - White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E41831-B9EF-64D6-EF04-7500888819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13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E41831-B9EF-64D6-EF04-750088881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Google Shape;15;p29"/>
          <p:cNvSpPr txBox="1"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00" b="1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6" name="Google Shape;16;p29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6" y="279224"/>
            <a:ext cx="1394177" cy="27986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C181CE91-E840-F9BC-24C5-CAE005553237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C369715D-7826-2D89-AE91-105451DF403B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bg1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chemeClr val="bg1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3195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Header 1" preserve="1" userDrawn="1">
  <p:cSld name="Section Header - Purple">
    <p:bg>
      <p:bgPr>
        <a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1FB059-FB79-68ED-C8B8-2E7CF0D92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62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1FB059-FB79-68ED-C8B8-2E7CF0D92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D19F7C2-6FC3-41D9-94F7-4B2F862F2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05" y="1914383"/>
            <a:ext cx="5626325" cy="1200778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chemeClr val="bg1"/>
                </a:solidFill>
                <a:latin typeface="Montserrat SemiBold" panose="020B060402020202020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oogle Shape;40;g8e661b59ff_0_450" descr="Google Shape;40;g8e661b59ff_0_450">
            <a:extLst>
              <a:ext uri="{FF2B5EF4-FFF2-40B4-BE49-F238E27FC236}">
                <a16:creationId xmlns:a16="http://schemas.microsoft.com/office/drawing/2014/main" id="{57271E73-3CE4-4558-AC4D-060A83D202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1224" y="279212"/>
            <a:ext cx="1394174" cy="279652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Google Shape;25;p28">
            <a:extLst>
              <a:ext uri="{FF2B5EF4-FFF2-40B4-BE49-F238E27FC236}">
                <a16:creationId xmlns:a16="http://schemas.microsoft.com/office/drawing/2014/main" id="{30B9A210-EC9A-03E6-8D20-FF26D6503425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4" name="Google Shape;24;p28">
            <a:extLst>
              <a:ext uri="{FF2B5EF4-FFF2-40B4-BE49-F238E27FC236}">
                <a16:creationId xmlns:a16="http://schemas.microsoft.com/office/drawing/2014/main" id="{6ACA7229-B67F-D190-F55A-18F8D80CF258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00270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A7B17"/>
          </p15:clr>
        </p15:guide>
        <p15:guide id="2" orient="horz" pos="340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Exampl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24FB99-86D3-4543-9E85-61DAA57CFB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514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8" imgH="670" progId="TCLayout.ActiveDocument.1">
                  <p:embed/>
                </p:oleObj>
              </mc:Choice>
              <mc:Fallback>
                <p:oleObj name="think-cell Slide" r:id="rId3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24FB99-86D3-4543-9E85-61DAA57CF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E2C0CFDF-5E2A-4995-86D5-8DBC0454071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4102792" cy="5143500"/>
          </a:xfrm>
          <a:prstGeom prst="rect">
            <a:avLst/>
          </a:prstGeom>
        </p:spPr>
      </p:pic>
      <p:sp>
        <p:nvSpPr>
          <p:cNvPr id="10" name="Google Shape;26;p28">
            <a:extLst>
              <a:ext uri="{FF2B5EF4-FFF2-40B4-BE49-F238E27FC236}">
                <a16:creationId xmlns:a16="http://schemas.microsoft.com/office/drawing/2014/main" id="{39D94F14-82B8-A843-93B8-ABEB2FB2E4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1851" y="141205"/>
            <a:ext cx="7091572" cy="5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chemeClr val="bg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35;g8d09728e15_0_47">
            <a:extLst>
              <a:ext uri="{FF2B5EF4-FFF2-40B4-BE49-F238E27FC236}">
                <a16:creationId xmlns:a16="http://schemas.microsoft.com/office/drawing/2014/main" id="{A1AA8081-B6C4-4EDA-9040-73957A69894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61850" y="502920"/>
            <a:ext cx="7091572" cy="47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chemeClr val="accent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28;p28">
            <a:extLst>
              <a:ext uri="{FF2B5EF4-FFF2-40B4-BE49-F238E27FC236}">
                <a16:creationId xmlns:a16="http://schemas.microsoft.com/office/drawing/2014/main" id="{3AE257D2-AE1C-41CE-BCDC-EF668803E6DE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1225" y="279213"/>
            <a:ext cx="1394173" cy="2796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9;p28">
            <a:extLst>
              <a:ext uri="{FF2B5EF4-FFF2-40B4-BE49-F238E27FC236}">
                <a16:creationId xmlns:a16="http://schemas.microsoft.com/office/drawing/2014/main" id="{BE192065-37D9-142B-8EE7-BC59A3A1AC61}"/>
              </a:ext>
            </a:extLst>
          </p:cNvPr>
          <p:cNvSpPr txBox="1">
            <a:spLocks noGrp="1"/>
          </p:cNvSpPr>
          <p:nvPr>
            <p:ph type="body" idx="2" hasCustomPrompt="1"/>
          </p:nvPr>
        </p:nvSpPr>
        <p:spPr>
          <a:xfrm>
            <a:off x="261925" y="1451525"/>
            <a:ext cx="3213383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4" name="Google Shape;29;p28">
            <a:extLst>
              <a:ext uri="{FF2B5EF4-FFF2-40B4-BE49-F238E27FC236}">
                <a16:creationId xmlns:a16="http://schemas.microsoft.com/office/drawing/2014/main" id="{84EA04E3-CC8C-C0E0-4669-0AFB59E2DCE6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3827388" y="1451525"/>
            <a:ext cx="4960335" cy="31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6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458788" marR="0" lvl="1" indent="-173038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Impact" panose="020B0806030902050204" pitchFamily="34" charset="0"/>
              <a:buChar char="–"/>
              <a:defRPr sz="14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685800" marR="0" lvl="2" indent="-171450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914400" marR="0" lvl="3" indent="-169863"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2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●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○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197E"/>
              </a:buClr>
              <a:buSzPts val="1800"/>
              <a:buFont typeface="IBM Plex Sans"/>
              <a:buChar char="■"/>
              <a:defRPr sz="1800" b="0" i="0" u="none" strike="noStrike" cap="none">
                <a:solidFill>
                  <a:srgbClr val="7B8898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9pPr>
          </a:lstStyle>
          <a:p>
            <a:r>
              <a:rPr lang="en-US" dirty="0"/>
              <a:t>Level 1 bullet</a:t>
            </a:r>
          </a:p>
          <a:p>
            <a:pPr lvl="1"/>
            <a:r>
              <a:rPr lang="en-US" dirty="0"/>
              <a:t>Level 2 bullet</a:t>
            </a:r>
          </a:p>
          <a:p>
            <a:pPr lvl="2"/>
            <a:r>
              <a:rPr lang="en-US" dirty="0"/>
              <a:t>Level 3 bullet</a:t>
            </a:r>
          </a:p>
          <a:p>
            <a:pPr lvl="3"/>
            <a:r>
              <a:rPr lang="en-US" dirty="0"/>
              <a:t>Level 4 bullet</a:t>
            </a:r>
            <a:endParaRPr dirty="0"/>
          </a:p>
        </p:txBody>
      </p:sp>
      <p:sp>
        <p:nvSpPr>
          <p:cNvPr id="5" name="Google Shape;25;p28">
            <a:extLst>
              <a:ext uri="{FF2B5EF4-FFF2-40B4-BE49-F238E27FC236}">
                <a16:creationId xmlns:a16="http://schemas.microsoft.com/office/drawing/2014/main" id="{3B9530A4-919A-29C9-0B04-4EAB975799F8}"/>
              </a:ext>
            </a:extLst>
          </p:cNvPr>
          <p:cNvSpPr txBox="1"/>
          <p:nvPr userDrawn="1"/>
        </p:nvSpPr>
        <p:spPr>
          <a:xfrm rot="5400000">
            <a:off x="8045232" y="2525571"/>
            <a:ext cx="19605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n-US" sz="600" b="0" i="0" u="none" strike="noStrike" cap="none" dirty="0">
                <a:solidFill>
                  <a:srgbClr val="C0C0C0"/>
                </a:solidFill>
                <a:latin typeface="IBM Plex Sans"/>
                <a:ea typeface="IBM Plex Sans"/>
                <a:cs typeface="IBM Plex Sans"/>
                <a:sym typeface="IBM Plex Sans"/>
              </a:rPr>
              <a:t>CONFIDENTIAL AND PROPRIETARY © ENCORA 2025</a:t>
            </a:r>
            <a:endParaRPr lang="en-US" sz="1600" b="0" i="0" u="none" strike="noStrike" cap="none" dirty="0">
              <a:solidFill>
                <a:srgbClr val="C0C0C0"/>
              </a:solidFill>
              <a:latin typeface="IBM Plex Sans"/>
              <a:ea typeface="IBM Plex Sans"/>
              <a:cs typeface="IBM Plex Sans"/>
              <a:sym typeface="IBM Plex Sans"/>
            </a:endParaRPr>
          </a:p>
        </p:txBody>
      </p:sp>
      <p:sp>
        <p:nvSpPr>
          <p:cNvPr id="6" name="Google Shape;24;p28">
            <a:extLst>
              <a:ext uri="{FF2B5EF4-FFF2-40B4-BE49-F238E27FC236}">
                <a16:creationId xmlns:a16="http://schemas.microsoft.com/office/drawing/2014/main" id="{2405F8F4-5823-F56A-4B9B-3C0FEB5A6873}"/>
              </a:ext>
            </a:extLst>
          </p:cNvPr>
          <p:cNvSpPr txBox="1"/>
          <p:nvPr userDrawn="1"/>
        </p:nvSpPr>
        <p:spPr>
          <a:xfrm>
            <a:off x="8223720" y="4706593"/>
            <a:ext cx="564003" cy="31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rgbClr val="44197E"/>
                </a:solidFill>
                <a:latin typeface="Montserrat SemiBold"/>
                <a:ea typeface="Montserrat SemiBold"/>
                <a:cs typeface="Montserrat SemiBold"/>
                <a:sym typeface="Montserrat SemiBold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 dirty="0">
              <a:solidFill>
                <a:srgbClr val="44197E"/>
              </a:solidFill>
              <a:latin typeface="Montserrat SemiBold"/>
              <a:ea typeface="Montserrat SemiBold"/>
              <a:cs typeface="Montserrat SemiBold"/>
              <a:sym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28090598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0F4CD3-4BCD-46EA-B65A-CE7EC84D9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70584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68" imgH="670" progId="TCLayout.ActiveDocument.1">
                  <p:embed/>
                </p:oleObj>
              </mc:Choice>
              <mc:Fallback>
                <p:oleObj name="think-cell Slide" r:id="rId26" imgW="668" imgH="6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0F4CD3-4BCD-46EA-B65A-CE7EC84D9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82" r:id="rId2"/>
    <p:sldLayoutId id="2147483659" r:id="rId3"/>
    <p:sldLayoutId id="2147483683" r:id="rId4"/>
    <p:sldLayoutId id="2147483660" r:id="rId5"/>
    <p:sldLayoutId id="2147483675" r:id="rId6"/>
    <p:sldLayoutId id="2147483673" r:id="rId7"/>
    <p:sldLayoutId id="2147483674" r:id="rId8"/>
    <p:sldLayoutId id="2147483661" r:id="rId9"/>
    <p:sldLayoutId id="2147483662" r:id="rId10"/>
    <p:sldLayoutId id="2147483676" r:id="rId11"/>
    <p:sldLayoutId id="2147483677" r:id="rId12"/>
    <p:sldLayoutId id="2147483678" r:id="rId13"/>
    <p:sldLayoutId id="2147483681" r:id="rId14"/>
    <p:sldLayoutId id="2147483666" r:id="rId15"/>
    <p:sldLayoutId id="2147483667" r:id="rId16"/>
    <p:sldLayoutId id="2147483669" r:id="rId17"/>
    <p:sldLayoutId id="2147483668" r:id="rId18"/>
    <p:sldLayoutId id="2147483670" r:id="rId19"/>
    <p:sldLayoutId id="2147483671" r:id="rId20"/>
    <p:sldLayoutId id="2147483672" r:id="rId21"/>
    <p:sldLayoutId id="2147483665" r:id="rId22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6.png"/><Relationship Id="rId12" Type="http://schemas.openxmlformats.org/officeDocument/2006/relationships/image" Target="../media/image50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6" Type="http://schemas.openxmlformats.org/officeDocument/2006/relationships/image" Target="../media/image45.png"/><Relationship Id="rId11" Type="http://schemas.openxmlformats.org/officeDocument/2006/relationships/image" Target="../media/image49.png"/><Relationship Id="rId5" Type="http://schemas.openxmlformats.org/officeDocument/2006/relationships/image" Target="../media/image10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29.bin"/><Relationship Id="rId9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3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6" Type="http://schemas.openxmlformats.org/officeDocument/2006/relationships/image" Target="../media/image36.png"/><Relationship Id="rId5" Type="http://schemas.openxmlformats.org/officeDocument/2006/relationships/image" Target="../media/image10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image" Target="../media/image4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5.xml"/><Relationship Id="rId7" Type="http://schemas.microsoft.com/office/2007/relationships/hdphoto" Target="../media/hdphoto3.wdp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3.xml"/><Relationship Id="rId6" Type="http://schemas.openxmlformats.org/officeDocument/2006/relationships/image" Target="../media/image42.png"/><Relationship Id="rId11" Type="http://schemas.microsoft.com/office/2007/relationships/hdphoto" Target="../media/hdphoto5.wdp"/><Relationship Id="rId5" Type="http://schemas.openxmlformats.org/officeDocument/2006/relationships/image" Target="../media/image10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27.bin"/><Relationship Id="rId9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96D2A0-6A5F-4FDD-9DA9-44DAB856B3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50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68" imgH="670" progId="TCLayout.ActiveDocument.1">
                  <p:embed/>
                </p:oleObj>
              </mc:Choice>
              <mc:Fallback>
                <p:oleObj name="think-cell Slide" r:id="rId5" imgW="668" imgH="6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96D2A0-6A5F-4FDD-9DA9-44DAB856B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C7179F-9234-4709-9B4E-BBA3DC657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 noProof="0" dirty="0">
              <a:latin typeface="Montserrat SemiBold" panose="020B0604020202020204" charset="0"/>
              <a:cs typeface="Calibri" panose="020F0502020204030204" pitchFamily="34" charset="0"/>
              <a:sym typeface="Montserrat SemiBold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72DFD0-EE17-47CC-B412-A1140BFA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How to bring structure to your data platfor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FB262C-26B3-43C9-942E-80D092E4F0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Leonardo Trevizo Herrera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D9B380A-F4B7-4C33-89E3-79B31EEEC7EA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r>
              <a:rPr lang="en-US" noProof="0" dirty="0"/>
              <a:t>July 18</a:t>
            </a:r>
            <a:r>
              <a:rPr lang="en-US" baseline="30000" noProof="0" dirty="0"/>
              <a:t>th</a:t>
            </a:r>
            <a:r>
              <a:rPr lang="en-US" noProof="0" dirty="0"/>
              <a:t>, 2025.</a:t>
            </a:r>
          </a:p>
        </p:txBody>
      </p:sp>
    </p:spTree>
    <p:extLst>
      <p:ext uri="{BB962C8B-B14F-4D97-AF65-F5344CB8AC3E}">
        <p14:creationId xmlns:p14="http://schemas.microsoft.com/office/powerpoint/2010/main" val="18090738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CE08C5-D6BC-397C-2FF4-66EF2D949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24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CE08C5-D6BC-397C-2FF4-66EF2D949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Frame 39520.png" descr="Frame 39520.png">
            <a:extLst>
              <a:ext uri="{FF2B5EF4-FFF2-40B4-BE49-F238E27FC236}">
                <a16:creationId xmlns:a16="http://schemas.microsoft.com/office/drawing/2014/main" id="{D808C843-A93E-D424-48AA-CF98B62120CF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4289472" y="2182828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1" name="Frame 39541.png" descr="Frame 39541.png">
            <a:extLst>
              <a:ext uri="{FF2B5EF4-FFF2-40B4-BE49-F238E27FC236}">
                <a16:creationId xmlns:a16="http://schemas.microsoft.com/office/drawing/2014/main" id="{1F328EA3-BBFE-34CF-6E05-4D2E65D86935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5725575" y="2176504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4" name="Frame 39574.png" descr="Frame 39574.png">
            <a:extLst>
              <a:ext uri="{FF2B5EF4-FFF2-40B4-BE49-F238E27FC236}">
                <a16:creationId xmlns:a16="http://schemas.microsoft.com/office/drawing/2014/main" id="{2BC2BE99-CAB1-AC8B-C4D6-70892490E842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4188955" y="308146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3" name="Frame 39539.png" descr="Frame 39539.png">
            <a:extLst>
              <a:ext uri="{FF2B5EF4-FFF2-40B4-BE49-F238E27FC236}">
                <a16:creationId xmlns:a16="http://schemas.microsoft.com/office/drawing/2014/main" id="{AE06A257-14F9-1552-6FF0-9759E899882D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2853369" y="2182831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4" name="Frame 39546.png" descr="Frame 39546.png">
            <a:extLst>
              <a:ext uri="{FF2B5EF4-FFF2-40B4-BE49-F238E27FC236}">
                <a16:creationId xmlns:a16="http://schemas.microsoft.com/office/drawing/2014/main" id="{53C4FDBD-7207-F39B-F7F8-E35F6EEC639E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4768173" y="21765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7" name="Frame 39569.png" descr="Frame 39569.png">
            <a:extLst>
              <a:ext uri="{FF2B5EF4-FFF2-40B4-BE49-F238E27FC236}">
                <a16:creationId xmlns:a16="http://schemas.microsoft.com/office/drawing/2014/main" id="{66F6391D-2ED5-9E41-C252-5FE746FF6A7A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2374668" y="21887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8" name="Frame 39576.png" descr="Frame 39576.png">
            <a:extLst>
              <a:ext uri="{FF2B5EF4-FFF2-40B4-BE49-F238E27FC236}">
                <a16:creationId xmlns:a16="http://schemas.microsoft.com/office/drawing/2014/main" id="{1CD428FC-078C-692A-0DA9-4C60FC42C359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3332070" y="218283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9" name="Frame 39609.png" descr="Frame 39609.png">
            <a:extLst>
              <a:ext uri="{FF2B5EF4-FFF2-40B4-BE49-F238E27FC236}">
                <a16:creationId xmlns:a16="http://schemas.microsoft.com/office/drawing/2014/main" id="{49CC21D6-7B8E-0EC6-C852-A4D85AE3398E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3810771" y="2182829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85351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539A39-9577-2F3C-DDB3-17764D3F9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ightning Talk #1</a:t>
            </a:r>
            <a:br>
              <a:rPr lang="en-US" noProof="0" dirty="0"/>
            </a:br>
            <a:r>
              <a:rPr lang="en-US" noProof="0" dirty="0"/>
              <a:t>Unity Catalog → Databricks</a:t>
            </a:r>
          </a:p>
        </p:txBody>
      </p:sp>
    </p:spTree>
    <p:extLst>
      <p:ext uri="{BB962C8B-B14F-4D97-AF65-F5344CB8AC3E}">
        <p14:creationId xmlns:p14="http://schemas.microsoft.com/office/powerpoint/2010/main" val="3426862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C61B8-C96A-2360-6AA3-38449F8FF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Data chaos across tea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4678C4-EDA3-7BCF-DDD4-0F2038395B5C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dirty="0"/>
              <a:t>	Who is accessing to this information?</a:t>
            </a:r>
            <a:br>
              <a:rPr lang="en-US" noProof="0" dirty="0"/>
            </a:br>
            <a:endParaRPr lang="en-US" noProof="0" dirty="0"/>
          </a:p>
          <a:p>
            <a:pPr marL="0" indent="0">
              <a:buNone/>
            </a:pP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	Why everyone has access to each other’s tables?</a:t>
            </a:r>
            <a:br>
              <a:rPr lang="en-US" noProof="0" dirty="0"/>
            </a:b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	Where’s the trusted version?</a:t>
            </a:r>
            <a:br>
              <a:rPr lang="en-US" noProof="0" dirty="0"/>
            </a:br>
            <a:endParaRPr lang="en-US" noProof="0" dirty="0"/>
          </a:p>
          <a:p>
            <a:pPr marL="0" indent="0">
              <a:buNone/>
            </a:pPr>
            <a:r>
              <a:rPr lang="en-US" noProof="0" dirty="0"/>
              <a:t>	I need to go back to the previous version; I made a mistake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62F9380-8B5B-8B9B-06BD-77B10C337F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The real probl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494771B-6FC6-2C88-1C85-14A4B32CEA61}"/>
              </a:ext>
            </a:extLst>
          </p:cNvPr>
          <p:cNvSpPr txBox="1"/>
          <p:nvPr/>
        </p:nvSpPr>
        <p:spPr>
          <a:xfrm>
            <a:off x="4226808" y="1942546"/>
            <a:ext cx="4277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0C3F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7B8898"/>
                </a:solidFill>
                <a:effectLst/>
                <a:uLnTx/>
                <a:uFillTx/>
                <a:latin typeface="IBM Plex Sans"/>
                <a:sym typeface="IBM Plex Sans"/>
              </a:rPr>
              <a:t>Why there’s duplicated data everywhere?</a:t>
            </a:r>
          </a:p>
        </p:txBody>
      </p:sp>
      <p:pic>
        <p:nvPicPr>
          <p:cNvPr id="21" name="Frame 39546.png" descr="Frame 39546.png">
            <a:extLst>
              <a:ext uri="{FF2B5EF4-FFF2-40B4-BE49-F238E27FC236}">
                <a16:creationId xmlns:a16="http://schemas.microsoft.com/office/drawing/2014/main" id="{5FCEAFA7-7B58-1A92-77E8-FB9FFF750C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5563" y="189805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2" name="Frame 39611.png" descr="Frame 39611.png">
            <a:extLst>
              <a:ext uri="{FF2B5EF4-FFF2-40B4-BE49-F238E27FC236}">
                <a16:creationId xmlns:a16="http://schemas.microsoft.com/office/drawing/2014/main" id="{F913D83B-BDCF-BD6E-F379-BC88DA9410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837" y="2356424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3" name="Frame 39580.png" descr="Frame 39580.png">
            <a:extLst>
              <a:ext uri="{FF2B5EF4-FFF2-40B4-BE49-F238E27FC236}">
                <a16:creationId xmlns:a16="http://schemas.microsoft.com/office/drawing/2014/main" id="{D43DC79D-B7D0-5929-F298-D69C39DCBC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478" y="14521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4" name="Frame 39530.png" descr="Frame 39530.png">
            <a:extLst>
              <a:ext uri="{FF2B5EF4-FFF2-40B4-BE49-F238E27FC236}">
                <a16:creationId xmlns:a16="http://schemas.microsoft.com/office/drawing/2014/main" id="{2AED9BAD-D17C-7596-6854-366DD0D55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9477" y="2925306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25" name="Frame 39616.png" descr="Frame 39616.png">
            <a:extLst>
              <a:ext uri="{FF2B5EF4-FFF2-40B4-BE49-F238E27FC236}">
                <a16:creationId xmlns:a16="http://schemas.microsoft.com/office/drawing/2014/main" id="{5921C3D6-AD03-708C-870A-DCC1773888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836" y="3494188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60522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A5EB66-037B-9D78-54DC-FB3FF6683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94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A5EB66-037B-9D78-54DC-FB3FF6683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896D03-5F31-B04A-48BC-2317BD5A1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Unity Catalog</a:t>
            </a:r>
            <a:endParaRPr lang="en-US" noProof="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788D32-2EB3-BE5D-447F-5B383312D5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hy does it matter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AB4CBA-3FEF-CBA6-116F-BD7EAB398CA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noProof="0" dirty="0"/>
              <a:t>A unified governance layer in Databricks to organize, secure and audit all data assets across multiple workspaces.</a:t>
            </a:r>
          </a:p>
          <a:p>
            <a:endParaRPr lang="en-US" dirty="0"/>
          </a:p>
          <a:p>
            <a:r>
              <a:rPr lang="en-US" noProof="0" dirty="0"/>
              <a:t>Structure:</a:t>
            </a:r>
          </a:p>
          <a:p>
            <a:pPr lvl="1"/>
            <a:r>
              <a:rPr lang="en-US" dirty="0"/>
              <a:t>Catalog: </a:t>
            </a:r>
            <a:r>
              <a:rPr lang="en-US" dirty="0" err="1"/>
              <a:t>sales_data</a:t>
            </a:r>
            <a:endParaRPr lang="en-US" dirty="0"/>
          </a:p>
          <a:p>
            <a:pPr lvl="1"/>
            <a:r>
              <a:rPr lang="en-US" noProof="0" dirty="0"/>
              <a:t>Schema: </a:t>
            </a:r>
            <a:r>
              <a:rPr lang="en-US" noProof="0" dirty="0" err="1"/>
              <a:t>north_America</a:t>
            </a:r>
            <a:endParaRPr lang="en-US" noProof="0" dirty="0"/>
          </a:p>
          <a:p>
            <a:pPr lvl="1"/>
            <a:r>
              <a:rPr lang="en-US" dirty="0"/>
              <a:t>Table: orders_2025</a:t>
            </a:r>
            <a:endParaRPr lang="en-US" noProof="0" dirty="0"/>
          </a:p>
          <a:p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B80C3-F116-2E6B-7E72-2BE885F878A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dirty="0"/>
              <a:t>	Centralized permiss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Auditing &amp; lineag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Easy data discovery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noProof="0" dirty="0"/>
              <a:t>	Data sharing</a:t>
            </a:r>
          </a:p>
        </p:txBody>
      </p:sp>
      <p:pic>
        <p:nvPicPr>
          <p:cNvPr id="7" name="Frame 39650.png" descr="Frame 39650.png">
            <a:extLst>
              <a:ext uri="{FF2B5EF4-FFF2-40B4-BE49-F238E27FC236}">
                <a16:creationId xmlns:a16="http://schemas.microsoft.com/office/drawing/2014/main" id="{C590C0A8-070E-3ABC-02C9-94B0A893F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1897" y="149216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8" name="Frame 39517.png" descr="Frame 39517.png">
            <a:extLst>
              <a:ext uri="{FF2B5EF4-FFF2-40B4-BE49-F238E27FC236}">
                <a16:creationId xmlns:a16="http://schemas.microsoft.com/office/drawing/2014/main" id="{4B0DB8BE-E6D6-D502-2BE6-B812DF6739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1897" y="2144805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9" name="Frame 39597.png" descr="Frame 39597.png">
            <a:extLst>
              <a:ext uri="{FF2B5EF4-FFF2-40B4-BE49-F238E27FC236}">
                <a16:creationId xmlns:a16="http://schemas.microsoft.com/office/drawing/2014/main" id="{7220EC46-1210-763C-5AB7-B9B7F8717E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41897" y="2760880"/>
            <a:ext cx="383045" cy="383045"/>
          </a:xfrm>
          <a:prstGeom prst="rect">
            <a:avLst/>
          </a:prstGeom>
          <a:ln w="3175">
            <a:miter lim="400000"/>
          </a:ln>
        </p:spPr>
      </p:pic>
      <p:pic>
        <p:nvPicPr>
          <p:cNvPr id="10" name="Frame 39545.png" descr="Frame 39545.png">
            <a:extLst>
              <a:ext uri="{FF2B5EF4-FFF2-40B4-BE49-F238E27FC236}">
                <a16:creationId xmlns:a16="http://schemas.microsoft.com/office/drawing/2014/main" id="{663F770D-11CE-3FEF-03E1-43DC435100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1897" y="3376955"/>
            <a:ext cx="383045" cy="383045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7302897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FBC6D4-55D2-8D6F-266C-B01D9D42B8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6DB07B8-9FCD-4CF4-738B-D500D4662F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DB07B8-9FCD-4CF4-738B-D500D4662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hape 10">
            <a:extLst>
              <a:ext uri="{FF2B5EF4-FFF2-40B4-BE49-F238E27FC236}">
                <a16:creationId xmlns:a16="http://schemas.microsoft.com/office/drawing/2014/main" id="{4E66D1EF-856F-FA2D-9193-65904B6E371E}"/>
              </a:ext>
            </a:extLst>
          </p:cNvPr>
          <p:cNvSpPr/>
          <p:nvPr/>
        </p:nvSpPr>
        <p:spPr>
          <a:xfrm>
            <a:off x="2520677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en-US" sz="1600" b="1" noProof="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2" name="Shape 10">
            <a:extLst>
              <a:ext uri="{FF2B5EF4-FFF2-40B4-BE49-F238E27FC236}">
                <a16:creationId xmlns:a16="http://schemas.microsoft.com/office/drawing/2014/main" id="{62925212-92ED-9E8B-F7B1-BC95A19CC3B6}"/>
              </a:ext>
            </a:extLst>
          </p:cNvPr>
          <p:cNvSpPr/>
          <p:nvPr/>
        </p:nvSpPr>
        <p:spPr>
          <a:xfrm>
            <a:off x="3846945" y="2013275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en-US" sz="1600" b="1" noProof="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02009D-4919-A7A5-1E8C-A0DDE66CB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 data engineer uses Unity Catalog</a:t>
            </a:r>
            <a:endParaRPr lang="en-US" noProof="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43976C-846C-AF1B-F607-415E605443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ow to bring structure?</a:t>
            </a:r>
          </a:p>
        </p:txBody>
      </p:sp>
      <p:sp>
        <p:nvSpPr>
          <p:cNvPr id="8" name="Shape 10">
            <a:extLst>
              <a:ext uri="{FF2B5EF4-FFF2-40B4-BE49-F238E27FC236}">
                <a16:creationId xmlns:a16="http://schemas.microsoft.com/office/drawing/2014/main" id="{D94781B8-698A-40D1-420C-5AC9B084E190}"/>
              </a:ext>
            </a:extLst>
          </p:cNvPr>
          <p:cNvSpPr/>
          <p:nvPr/>
        </p:nvSpPr>
        <p:spPr>
          <a:xfrm>
            <a:off x="911455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en-US" sz="1600" b="1" noProof="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11" name="Text 3">
            <a:extLst>
              <a:ext uri="{FF2B5EF4-FFF2-40B4-BE49-F238E27FC236}">
                <a16:creationId xmlns:a16="http://schemas.microsoft.com/office/drawing/2014/main" id="{A92303D6-D44E-58FE-97E2-4CB3145526B1}"/>
              </a:ext>
            </a:extLst>
          </p:cNvPr>
          <p:cNvSpPr txBox="1"/>
          <p:nvPr/>
        </p:nvSpPr>
        <p:spPr>
          <a:xfrm>
            <a:off x="911455" y="2664675"/>
            <a:ext cx="2362113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lang="en-US" sz="2000" noProof="0" dirty="0">
                <a:latin typeface="IBM Plex Sans" panose="020B0503050203000203" pitchFamily="34" charset="0"/>
              </a:rPr>
              <a:t>Organize </a:t>
            </a:r>
          </a:p>
        </p:txBody>
      </p:sp>
      <p:sp>
        <p:nvSpPr>
          <p:cNvPr id="12" name="Text 4">
            <a:extLst>
              <a:ext uri="{FF2B5EF4-FFF2-40B4-BE49-F238E27FC236}">
                <a16:creationId xmlns:a16="http://schemas.microsoft.com/office/drawing/2014/main" id="{1AFE586A-C339-35ED-A77D-54F0A86D4875}"/>
              </a:ext>
            </a:extLst>
          </p:cNvPr>
          <p:cNvSpPr txBox="1"/>
          <p:nvPr/>
        </p:nvSpPr>
        <p:spPr>
          <a:xfrm>
            <a:off x="911455" y="3185056"/>
            <a:ext cx="1247395" cy="5078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100" noProof="0" dirty="0">
                <a:latin typeface="IBM Plex Sans" panose="020B0503050203000203" pitchFamily="34" charset="0"/>
              </a:rPr>
              <a:t>Data using clear catalogs and schemas</a:t>
            </a:r>
          </a:p>
        </p:txBody>
      </p:sp>
      <p:sp>
        <p:nvSpPr>
          <p:cNvPr id="13" name="Text 5">
            <a:extLst>
              <a:ext uri="{FF2B5EF4-FFF2-40B4-BE49-F238E27FC236}">
                <a16:creationId xmlns:a16="http://schemas.microsoft.com/office/drawing/2014/main" id="{8DB647C5-1F2D-0B9C-7584-3C9E3C384B73}"/>
              </a:ext>
            </a:extLst>
          </p:cNvPr>
          <p:cNvSpPr txBox="1"/>
          <p:nvPr/>
        </p:nvSpPr>
        <p:spPr>
          <a:xfrm>
            <a:off x="2548251" y="2675014"/>
            <a:ext cx="860459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lang="en-US" sz="2000" noProof="0" dirty="0">
                <a:solidFill>
                  <a:schemeClr val="bg2">
                    <a:lumMod val="75000"/>
                  </a:schemeClr>
                </a:solidFill>
                <a:latin typeface="IBM Plex Sans" panose="020B0503050203000203" pitchFamily="34" charset="0"/>
              </a:rPr>
              <a:t>Define</a:t>
            </a:r>
          </a:p>
        </p:txBody>
      </p:sp>
      <p:sp>
        <p:nvSpPr>
          <p:cNvPr id="14" name="Text 6">
            <a:extLst>
              <a:ext uri="{FF2B5EF4-FFF2-40B4-BE49-F238E27FC236}">
                <a16:creationId xmlns:a16="http://schemas.microsoft.com/office/drawing/2014/main" id="{68D2FD07-6595-2155-0C64-209E0F2201D0}"/>
              </a:ext>
            </a:extLst>
          </p:cNvPr>
          <p:cNvSpPr txBox="1"/>
          <p:nvPr/>
        </p:nvSpPr>
        <p:spPr>
          <a:xfrm>
            <a:off x="2548251" y="3185056"/>
            <a:ext cx="1247395" cy="5078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100" noProof="0" dirty="0">
                <a:latin typeface="IBM Plex Sans" panose="020B0503050203000203" pitchFamily="34" charset="0"/>
              </a:rPr>
              <a:t>And manage permissions centrally</a:t>
            </a:r>
          </a:p>
        </p:txBody>
      </p:sp>
      <p:sp>
        <p:nvSpPr>
          <p:cNvPr id="15" name="Text 7">
            <a:extLst>
              <a:ext uri="{FF2B5EF4-FFF2-40B4-BE49-F238E27FC236}">
                <a16:creationId xmlns:a16="http://schemas.microsoft.com/office/drawing/2014/main" id="{727892E6-2262-144F-F711-06DBE390ECF6}"/>
              </a:ext>
            </a:extLst>
          </p:cNvPr>
          <p:cNvSpPr txBox="1"/>
          <p:nvPr/>
        </p:nvSpPr>
        <p:spPr>
          <a:xfrm>
            <a:off x="3902097" y="2674952"/>
            <a:ext cx="1350046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lang="en-US" sz="2000" noProof="0" dirty="0">
                <a:latin typeface="IBM Plex Sans" panose="020B0503050203000203" pitchFamily="34" charset="0"/>
              </a:rPr>
              <a:t>Ensure</a:t>
            </a:r>
          </a:p>
        </p:txBody>
      </p:sp>
      <p:sp>
        <p:nvSpPr>
          <p:cNvPr id="16" name="Text 8">
            <a:extLst>
              <a:ext uri="{FF2B5EF4-FFF2-40B4-BE49-F238E27FC236}">
                <a16:creationId xmlns:a16="http://schemas.microsoft.com/office/drawing/2014/main" id="{41EE5271-C080-EDA8-D2C2-157C7D9C732A}"/>
              </a:ext>
            </a:extLst>
          </p:cNvPr>
          <p:cNvSpPr txBox="1"/>
          <p:nvPr/>
        </p:nvSpPr>
        <p:spPr>
          <a:xfrm>
            <a:off x="3902097" y="3184995"/>
            <a:ext cx="1247395" cy="5078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100" noProof="0" dirty="0">
                <a:latin typeface="IBM Plex Sans" panose="020B0503050203000203" pitchFamily="34" charset="0"/>
              </a:rPr>
              <a:t>Consistent naming conventions</a:t>
            </a:r>
          </a:p>
        </p:txBody>
      </p:sp>
      <p:pic>
        <p:nvPicPr>
          <p:cNvPr id="2" name="Frame 39662.png">
            <a:extLst>
              <a:ext uri="{FF2B5EF4-FFF2-40B4-BE49-F238E27FC236}">
                <a16:creationId xmlns:a16="http://schemas.microsoft.com/office/drawing/2014/main" id="{4DBBB6E0-B3F9-3E2A-A980-7E0AF12F2108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rcRect/>
          <a:stretch/>
        </p:blipFill>
        <p:spPr>
          <a:xfrm>
            <a:off x="888221" y="1990041"/>
            <a:ext cx="519554" cy="519554"/>
          </a:xfrm>
          <a:prstGeom prst="rect">
            <a:avLst/>
          </a:prstGeom>
          <a:ln w="3175">
            <a:miter lim="400000"/>
          </a:ln>
        </p:spPr>
      </p:pic>
      <p:pic>
        <p:nvPicPr>
          <p:cNvPr id="3" name="Frame 39632.png">
            <a:extLst>
              <a:ext uri="{FF2B5EF4-FFF2-40B4-BE49-F238E27FC236}">
                <a16:creationId xmlns:a16="http://schemas.microsoft.com/office/drawing/2014/main" id="{EFB37A66-76C8-A507-201E-27DB923407BA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rcRect/>
          <a:stretch/>
        </p:blipFill>
        <p:spPr>
          <a:xfrm>
            <a:off x="2507192" y="2003974"/>
            <a:ext cx="523290" cy="514984"/>
          </a:xfrm>
          <a:prstGeom prst="rect">
            <a:avLst/>
          </a:prstGeom>
          <a:ln w="3175">
            <a:miter lim="400000"/>
          </a:ln>
        </p:spPr>
      </p:pic>
      <p:pic>
        <p:nvPicPr>
          <p:cNvPr id="5" name="Frame 39610.png" descr="Frame 39610.png">
            <a:extLst>
              <a:ext uri="{FF2B5EF4-FFF2-40B4-BE49-F238E27FC236}">
                <a16:creationId xmlns:a16="http://schemas.microsoft.com/office/drawing/2014/main" id="{96523C1C-5FC9-B9AF-1F28-4F6B4C9D2EB8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</a:blip>
          <a:stretch>
            <a:fillRect/>
          </a:stretch>
        </p:blipFill>
        <p:spPr>
          <a:xfrm>
            <a:off x="3846945" y="2013275"/>
            <a:ext cx="496320" cy="496320"/>
          </a:xfrm>
          <a:prstGeom prst="rect">
            <a:avLst/>
          </a:prstGeom>
          <a:ln w="3175">
            <a:miter lim="400000"/>
          </a:ln>
        </p:spPr>
      </p:pic>
      <p:sp>
        <p:nvSpPr>
          <p:cNvPr id="9" name="Shape 10">
            <a:extLst>
              <a:ext uri="{FF2B5EF4-FFF2-40B4-BE49-F238E27FC236}">
                <a16:creationId xmlns:a16="http://schemas.microsoft.com/office/drawing/2014/main" id="{468B4410-3491-D159-7A53-D4B55ADF052B}"/>
              </a:ext>
            </a:extLst>
          </p:cNvPr>
          <p:cNvSpPr/>
          <p:nvPr/>
        </p:nvSpPr>
        <p:spPr>
          <a:xfrm>
            <a:off x="5369623" y="2019082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en-US" sz="1600" b="1" noProof="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17" name="Text 5">
            <a:extLst>
              <a:ext uri="{FF2B5EF4-FFF2-40B4-BE49-F238E27FC236}">
                <a16:creationId xmlns:a16="http://schemas.microsoft.com/office/drawing/2014/main" id="{4920AD9F-1D1F-8482-3D55-92850F3411F4}"/>
              </a:ext>
            </a:extLst>
          </p:cNvPr>
          <p:cNvSpPr txBox="1"/>
          <p:nvPr/>
        </p:nvSpPr>
        <p:spPr>
          <a:xfrm>
            <a:off x="5397197" y="2680759"/>
            <a:ext cx="1005869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lang="en-US" sz="2000" noProof="0" dirty="0">
                <a:solidFill>
                  <a:srgbClr val="2E2052"/>
                </a:solidFill>
                <a:latin typeface="IBM Plex Sans" panose="020B0503050203000203" pitchFamily="34" charset="0"/>
              </a:rPr>
              <a:t>Track</a:t>
            </a:r>
          </a:p>
        </p:txBody>
      </p:sp>
      <p:sp>
        <p:nvSpPr>
          <p:cNvPr id="18" name="Text 6">
            <a:extLst>
              <a:ext uri="{FF2B5EF4-FFF2-40B4-BE49-F238E27FC236}">
                <a16:creationId xmlns:a16="http://schemas.microsoft.com/office/drawing/2014/main" id="{9146B71E-1D86-769B-8D51-C3D972F77367}"/>
              </a:ext>
            </a:extLst>
          </p:cNvPr>
          <p:cNvSpPr txBox="1"/>
          <p:nvPr/>
        </p:nvSpPr>
        <p:spPr>
          <a:xfrm>
            <a:off x="5397197" y="3190801"/>
            <a:ext cx="1247395" cy="33855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100" noProof="0" dirty="0">
                <a:latin typeface="IBM Plex Sans" panose="020B0503050203000203" pitchFamily="34" charset="0"/>
              </a:rPr>
              <a:t>Lineage and audit access regularly</a:t>
            </a:r>
          </a:p>
        </p:txBody>
      </p:sp>
      <p:pic>
        <p:nvPicPr>
          <p:cNvPr id="20" name="Frame 39632.png">
            <a:extLst>
              <a:ext uri="{FF2B5EF4-FFF2-40B4-BE49-F238E27FC236}">
                <a16:creationId xmlns:a16="http://schemas.microsoft.com/office/drawing/2014/main" id="{B7E3C908-FA0D-DB62-B935-8BFA44D21F69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</a:blip>
          <a:srcRect/>
          <a:stretch/>
        </p:blipFill>
        <p:spPr>
          <a:xfrm>
            <a:off x="5356138" y="2005566"/>
            <a:ext cx="523290" cy="523290"/>
          </a:xfrm>
          <a:prstGeom prst="rect">
            <a:avLst/>
          </a:prstGeom>
          <a:ln w="3175">
            <a:miter lim="400000"/>
          </a:ln>
        </p:spPr>
      </p:pic>
      <p:sp>
        <p:nvSpPr>
          <p:cNvPr id="24" name="Shape 10">
            <a:extLst>
              <a:ext uri="{FF2B5EF4-FFF2-40B4-BE49-F238E27FC236}">
                <a16:creationId xmlns:a16="http://schemas.microsoft.com/office/drawing/2014/main" id="{7C4EA587-4D48-CB1B-FAEC-7BFA94C9CC67}"/>
              </a:ext>
            </a:extLst>
          </p:cNvPr>
          <p:cNvSpPr/>
          <p:nvPr/>
        </p:nvSpPr>
        <p:spPr>
          <a:xfrm>
            <a:off x="6957576" y="2013337"/>
            <a:ext cx="496320" cy="496258"/>
          </a:xfrm>
          <a:prstGeom prst="roundRect">
            <a:avLst>
              <a:gd name="adj" fmla="val 50000"/>
            </a:avLst>
          </a:prstGeom>
          <a:solidFill>
            <a:srgbClr val="44197E"/>
          </a:solidFill>
          <a:ln w="3175">
            <a:miter lim="400000"/>
          </a:ln>
        </p:spPr>
        <p:txBody>
          <a:bodyPr lIns="45719" rIns="45719" anchor="ctr"/>
          <a:lstStyle/>
          <a:p>
            <a:pPr algn="ctr">
              <a:defRPr sz="1800" spc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lang="en-US" sz="1600" b="1" noProof="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5" name="Text 5">
            <a:extLst>
              <a:ext uri="{FF2B5EF4-FFF2-40B4-BE49-F238E27FC236}">
                <a16:creationId xmlns:a16="http://schemas.microsoft.com/office/drawing/2014/main" id="{8FCAB0C9-11BC-28D9-5D53-CD1C85B695BE}"/>
              </a:ext>
            </a:extLst>
          </p:cNvPr>
          <p:cNvSpPr txBox="1"/>
          <p:nvPr/>
        </p:nvSpPr>
        <p:spPr>
          <a:xfrm>
            <a:off x="6985150" y="2675014"/>
            <a:ext cx="1005869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4000" spc="-79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rPr lang="en-US" sz="2000" noProof="0" dirty="0">
                <a:latin typeface="IBM Plex Sans" panose="020B0503050203000203" pitchFamily="34" charset="0"/>
              </a:rPr>
              <a:t>Treat</a:t>
            </a:r>
          </a:p>
        </p:txBody>
      </p:sp>
      <p:sp>
        <p:nvSpPr>
          <p:cNvPr id="26" name="Text 6">
            <a:extLst>
              <a:ext uri="{FF2B5EF4-FFF2-40B4-BE49-F238E27FC236}">
                <a16:creationId xmlns:a16="http://schemas.microsoft.com/office/drawing/2014/main" id="{ADC7E046-0DC4-6EF2-4DA7-DE4D20605505}"/>
              </a:ext>
            </a:extLst>
          </p:cNvPr>
          <p:cNvSpPr txBox="1"/>
          <p:nvPr/>
        </p:nvSpPr>
        <p:spPr>
          <a:xfrm>
            <a:off x="6985150" y="3185056"/>
            <a:ext cx="1247395" cy="33855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 spc="-36">
                <a:solidFill>
                  <a:srgbClr val="323232"/>
                </a:solidFill>
                <a:latin typeface="IBM Plex Sans Regular"/>
                <a:ea typeface="IBM Plex Sans Regular"/>
                <a:cs typeface="IBM Plex Sans Regular"/>
                <a:sym typeface="IBM Plex Sans Regular"/>
              </a:defRPr>
            </a:lvl1pPr>
          </a:lstStyle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100" noProof="0" dirty="0">
                <a:latin typeface="IBM Plex Sans" panose="020B0503050203000203" pitchFamily="34" charset="0"/>
              </a:rPr>
              <a:t>Unity Catalog as the source of truth</a:t>
            </a:r>
          </a:p>
        </p:txBody>
      </p:sp>
      <p:pic>
        <p:nvPicPr>
          <p:cNvPr id="27" name="Frame 39632.png">
            <a:extLst>
              <a:ext uri="{FF2B5EF4-FFF2-40B4-BE49-F238E27FC236}">
                <a16:creationId xmlns:a16="http://schemas.microsoft.com/office/drawing/2014/main" id="{761C6866-AEED-B200-5672-BCAA645DD075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rcRect/>
          <a:stretch/>
        </p:blipFill>
        <p:spPr>
          <a:xfrm>
            <a:off x="6944091" y="1999821"/>
            <a:ext cx="523290" cy="523290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659352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307FC8-7EB7-68DA-273E-95BDA90745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64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307FC8-7EB7-68DA-273E-95BDA9074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46E629-E743-BA0F-5E14-2B788780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How a data engineer uses Unity Catalo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CD44CFF-377F-BDD8-86C3-D54CAE1AA3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noProof="0" dirty="0"/>
              <a:t>Example - organization</a:t>
            </a:r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100A1D89-B204-FEA0-7956-EA8A525948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16620" y="1563114"/>
            <a:ext cx="8317453" cy="2489464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74453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D7544D-7AA1-E1F2-629D-A134C3C5B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172C32-D883-0AE1-A90B-DE34E18B5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172C32-D883-0AE1-A90B-DE34E18B5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929B2A-632A-12FE-4FD5-383958CE2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noProof="0" dirty="0"/>
              <a:t>How a data engineer uses Unity Catalo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6CF1979-500E-3B68-B51B-4F2FB18744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just"/>
            <a:r>
              <a:rPr lang="en-US" noProof="0" dirty="0"/>
              <a:t>Example - accessibility</a:t>
            </a:r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1C59B9E0-9E90-360F-FD2C-1E3A70BB31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413273" y="1161335"/>
            <a:ext cx="8317453" cy="1659006"/>
          </a:xfrm>
          <a:prstGeom prst="rect">
            <a:avLst/>
          </a:prstGeom>
          <a:solidFill>
            <a:srgbClr val="252525"/>
          </a:solidFill>
          <a:ln w="3175">
            <a:miter lim="400000"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6FE7B25-410D-EE6D-24E0-4B3C126BFD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5738" y="2901267"/>
            <a:ext cx="4072156" cy="13345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AB5B7BF-57B9-E298-31C5-4447467079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26107" y="2901267"/>
            <a:ext cx="4072155" cy="1273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419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FADA30-B1A4-BB71-CC61-E25F5F05E9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8C2B2-703A-B978-F64D-D8AAA6406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e problems Unity Catalog solv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E15F7E-143D-21BB-BB22-4E34BA8D6BB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and those it doesn’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A031DE-597B-F774-A615-BEEBC3034C1A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noProof="0" dirty="0"/>
              <a:t>Centralized access control for all data assets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Unified governance across multiple workspaces</a:t>
            </a:r>
          </a:p>
          <a:p>
            <a:pPr>
              <a:lnSpc>
                <a:spcPct val="150000"/>
              </a:lnSpc>
            </a:pPr>
            <a:r>
              <a:rPr lang="en-US" noProof="0" dirty="0"/>
              <a:t>Column-level and row-level security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Auditing of user actions and lineage track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B90081-1F84-14C5-AC8B-C3185170F275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noProof="0" dirty="0">
                <a:solidFill>
                  <a:schemeClr val="accent1"/>
                </a:solidFill>
              </a:rPr>
              <a:t>Ensuring data quality or accuracy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Design of schemas or business logic</a:t>
            </a:r>
          </a:p>
          <a:p>
            <a:pPr>
              <a:lnSpc>
                <a:spcPct val="150000"/>
              </a:lnSpc>
            </a:pPr>
            <a:r>
              <a:rPr lang="en-US" noProof="0" dirty="0">
                <a:solidFill>
                  <a:schemeClr val="accent1"/>
                </a:solidFill>
              </a:rPr>
              <a:t>Transforming or processing your data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accent1"/>
                </a:solidFill>
              </a:rPr>
              <a:t>Enforcing consistent naming conventions</a:t>
            </a:r>
          </a:p>
          <a:p>
            <a:pPr>
              <a:lnSpc>
                <a:spcPct val="150000"/>
              </a:lnSpc>
            </a:pPr>
            <a:r>
              <a:rPr lang="en-US" noProof="0" dirty="0">
                <a:solidFill>
                  <a:schemeClr val="accent1"/>
                </a:solidFill>
              </a:rPr>
              <a:t>Automation data ingestion</a:t>
            </a:r>
          </a:p>
        </p:txBody>
      </p:sp>
    </p:spTree>
    <p:extLst>
      <p:ext uri="{BB962C8B-B14F-4D97-AF65-F5344CB8AC3E}">
        <p14:creationId xmlns:p14="http://schemas.microsoft.com/office/powerpoint/2010/main" val="68962878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A68CBB-D792-0CFF-6F0C-8947275CA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EC75B53-D84A-8ABB-2FE0-3045792DC0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8" imgH="540" progId="TCLayout.ActiveDocument.1">
                  <p:embed/>
                </p:oleObj>
              </mc:Choice>
              <mc:Fallback>
                <p:oleObj name="think-cell Slide" r:id="rId4" imgW="538" imgH="54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C75B53-D84A-8ABB-2FE0-3045792DC0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5F99EA-5A21-A226-74BD-C1DE4491C1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t’s not just governance,</a:t>
            </a:r>
            <a:br>
              <a:rPr lang="en-US" noProof="0" dirty="0"/>
            </a:br>
            <a:r>
              <a:rPr lang="en-US" noProof="0" dirty="0"/>
              <a:t>it’s good engineering</a:t>
            </a:r>
          </a:p>
        </p:txBody>
      </p:sp>
    </p:spTree>
    <p:extLst>
      <p:ext uri="{BB962C8B-B14F-4D97-AF65-F5344CB8AC3E}">
        <p14:creationId xmlns:p14="http://schemas.microsoft.com/office/powerpoint/2010/main" val="3810529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-%y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FY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0&quot;&gt;&lt;elem m_fUsage=&quot;3.95867255582448107631E+00&quot;&gt;&lt;m_msothmcolidx val=&quot;0&quot;/&gt;&lt;m_rgb r=&quot;00&quot; g=&quot;B0&quot; b=&quot;F0&quot;/&gt;&lt;/elem&gt;&lt;elem m_fUsage=&quot;2.05658999999999991815E+00&quot;&gt;&lt;m_msothmcolidx val=&quot;0&quot;/&gt;&lt;m_rgb r=&quot;C7&quot; g=&quot;E2&quot; b=&quot;A0&quot;/&gt;&lt;/elem&gt;&lt;elem m_fUsage=&quot;9.61908210000000152284E-01&quot;&gt;&lt;m_msothmcolidx val=&quot;0&quot;/&gt;&lt;m_rgb r=&quot;08&quot; g=&quot;59&quot; b=&quot;A4&quot;/&gt;&lt;/elem&gt;&lt;elem m_fUsage=&quot;4.78296900000000135833E-01&quot;&gt;&lt;m_msothmcolidx val=&quot;0&quot;/&gt;&lt;m_rgb r=&quot;E4&quot; g=&quot;44&quot; b=&quot;24&quot;/&gt;&lt;/elem&gt;&lt;elem m_fUsage=&quot;3.87420489000000145552E-01&quot;&gt;&lt;m_msothmcolidx val=&quot;0&quot;/&gt;&lt;m_rgb r=&quot;E3&quot; g=&quot;66&quot; b=&quot;4D&quot;/&gt;&lt;/elem&gt;&lt;elem m_fUsage=&quot;3.48678440100000153201E-01&quot;&gt;&lt;m_msothmcolidx val=&quot;0&quot;/&gt;&lt;m_rgb r=&quot;4D&quot; g=&quot;82&quot; b=&quot;A7&quot;/&gt;&lt;/elem&gt;&lt;elem m_fUsage=&quot;3.13810596090000171188E-01&quot;&gt;&lt;m_msothmcolidx val=&quot;0&quot;/&gt;&lt;m_rgb r=&quot;B5&quot; g=&quot;54&quot; b=&quot;81&quot;/&gt;&lt;/elem&gt;&lt;elem m_fUsage=&quot;2.82429536481000165171E-01&quot;&gt;&lt;m_msothmcolidx val=&quot;0&quot;/&gt;&lt;m_rgb r=&quot;01&quot; g=&quot;A6&quot; b=&quot;C8&quot;/&gt;&lt;/elem&gt;&lt;elem m_fUsage=&quot;2.54186582832900132001E-01&quot;&gt;&lt;m_msothmcolidx val=&quot;0&quot;/&gt;&lt;m_rgb r=&quot;01&quot; g=&quot;A4&quot; b=&quot;C6&quot;/&gt;&lt;/elem&gt;&lt;elem m_fUsage=&quot;2.28767924549610118801E-01&quot;&gt;&lt;m_msothmcolidx val=&quot;0&quot;/&gt;&lt;m_rgb r=&quot;F5&quot; g=&quot;73&quot; b=&quot;34&quot;/&gt;&lt;/elem&gt;&lt;elem m_fUsage=&quot;2.05891132094649098594E-01&quot;&gt;&lt;m_msothmcolidx val=&quot;0&quot;/&gt;&lt;m_rgb r=&quot;BE&quot; g=&quot;D7&quot; b=&quot;33&quot;/&gt;&lt;/elem&gt;&lt;elem m_fUsage=&quot;1.21389960133063315451E-01&quot;&gt;&lt;m_msothmcolidx val=&quot;0&quot;/&gt;&lt;m_rgb r=&quot;C0&quot; g=&quot;00&quot; b=&quot;00&quot;/&gt;&lt;/elem&gt;&lt;elem m_fUsage=&quot;9.22133888396934608966E-02&quot;&gt;&lt;m_msothmcolidx val=&quot;0&quot;/&gt;&lt;m_rgb r=&quot;FF&quot; g=&quot;CC&quot; b=&quot;CC&quot;/&gt;&lt;/elem&gt;&lt;elem m_fUsage=&quot;5.57349833523367588217E-02&quot;&gt;&lt;m_msothmcolidx val=&quot;0&quot;/&gt;&lt;m_rgb r=&quot;CC&quot; g=&quot;FF&quot; b=&quot;99&quot;/&gt;&lt;/elem&gt;&lt;elem m_fUsage=&quot;4.53071146403777116896E-02&quot;&gt;&lt;m_msothmcolidx val=&quot;0&quot;/&gt;&lt;m_rgb r=&quot;00&quot; g=&quot;80&quot; b=&quot;00&quot;/&gt;&lt;/elem&gt;&lt;elem m_fUsage=&quot;4.23911582752162438559E-02&quot;&gt;&lt;m_msothmcolidx val=&quot;0&quot;/&gt;&lt;m_rgb r=&quot;30&quot; g=&quot;30&quot; b=&quot;30&quot;/&gt;&lt;/elem&gt;&lt;elem m_fUsage=&quot;2.83957184508226989639E-02&quot;&gt;&lt;m_msothmcolidx val=&quot;0&quot;/&gt;&lt;m_rgb r=&quot;FD&quot; g=&quot;F0&quot; b=&quot;99&quot;/&gt;&lt;/elem&gt;&lt;elem m_fUsage=&quot;2.78128389443693807559E-02&quot;&gt;&lt;m_msothmcolidx val=&quot;0&quot;/&gt;&lt;m_rgb r=&quot;8A&quot; g=&quot;D9&quot; b=&quot;03&quot;/&gt;&lt;/elem&gt;&lt;elem m_fUsage=&quot;1.82480036314007498799E-02&quot;&gt;&lt;m_msothmcolidx val=&quot;0&quot;/&gt;&lt;m_rgb r=&quot;33&quot; g=&quot;CC&quot; b=&quot;33&quot;/&gt;&lt;/elem&gt;&lt;elem m_fUsage=&quot;1.33027946472911474951E-02&quot;&gt;&lt;m_msothmcolidx val=&quot;0&quot;/&gt;&lt;m_rgb r=&quot;A7&quot; g=&quot;E3&quot; b=&quot;F8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kkFKHiGHeCf_8UyjUR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T7C22EE2cwyMN_4RO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58l42vD0qG8Jp_LKhp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6oHG6ex0CeAiDwUhz_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Page">
  <a:themeElements>
    <a:clrScheme name="Custom 1">
      <a:dk1>
        <a:srgbClr val="303130"/>
      </a:dk1>
      <a:lt1>
        <a:srgbClr val="FFFFFF"/>
      </a:lt1>
      <a:dk2>
        <a:srgbClr val="44197E"/>
      </a:dk2>
      <a:lt2>
        <a:srgbClr val="F3F3F3"/>
      </a:lt2>
      <a:accent1>
        <a:srgbClr val="7F7F7F"/>
      </a:accent1>
      <a:accent2>
        <a:srgbClr val="0070C0"/>
      </a:accent2>
      <a:accent3>
        <a:srgbClr val="90C642"/>
      </a:accent3>
      <a:accent4>
        <a:srgbClr val="40C3F0"/>
      </a:accent4>
      <a:accent5>
        <a:srgbClr val="F6BC15"/>
      </a:accent5>
      <a:accent6>
        <a:srgbClr val="F15C54"/>
      </a:accent6>
      <a:hlink>
        <a:srgbClr val="F2F2F2"/>
      </a:hlink>
      <a:folHlink>
        <a:srgbClr val="00206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IBM Plex Sans" panose="020B060402020202020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3927f13-0167-4747-93d1-4cfa56c63106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AA1872CEEF6B479457931568B20E2B" ma:contentTypeVersion="8" ma:contentTypeDescription="Create a new document." ma:contentTypeScope="" ma:versionID="15c695566b82b0969f1faf28baf8ffa0">
  <xsd:schema xmlns:xsd="http://www.w3.org/2001/XMLSchema" xmlns:xs="http://www.w3.org/2001/XMLSchema" xmlns:p="http://schemas.microsoft.com/office/2006/metadata/properties" xmlns:ns2="940fc0ab-afcb-42a4-b589-d4c6c75ddf2d" xmlns:ns3="33927f13-0167-4747-93d1-4cfa56c63106" targetNamespace="http://schemas.microsoft.com/office/2006/metadata/properties" ma:root="true" ma:fieldsID="013ed709ffa9751d530688b460144000" ns2:_="" ns3:_="">
    <xsd:import namespace="940fc0ab-afcb-42a4-b589-d4c6c75ddf2d"/>
    <xsd:import namespace="33927f13-0167-4747-93d1-4cfa56c6310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0fc0ab-afcb-42a4-b589-d4c6c75dd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927f13-0167-4747-93d1-4cfa56c6310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51DF20-F5FC-46D5-974D-45D4B0D634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FAFD70-A271-4D83-BAD4-59DAA425E7FB}">
  <ds:schemaRefs>
    <ds:schemaRef ds:uri="http://schemas.microsoft.com/office/2006/metadata/properties"/>
    <ds:schemaRef ds:uri="http://schemas.microsoft.com/office/infopath/2007/PartnerControls"/>
    <ds:schemaRef ds:uri="33927f13-0167-4747-93d1-4cfa56c63106"/>
  </ds:schemaRefs>
</ds:datastoreItem>
</file>

<file path=customXml/itemProps3.xml><?xml version="1.0" encoding="utf-8"?>
<ds:datastoreItem xmlns:ds="http://schemas.openxmlformats.org/officeDocument/2006/customXml" ds:itemID="{4C89D8F4-16DE-40E1-89C0-E0C6CBD550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0fc0ab-afcb-42a4-b589-d4c6c75ddf2d"/>
    <ds:schemaRef ds:uri="33927f13-0167-4747-93d1-4cfa56c631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068</TotalTime>
  <Words>266</Words>
  <Application>Microsoft Office PowerPoint</Application>
  <PresentationFormat>On-screen Show (16:9)</PresentationFormat>
  <Paragraphs>55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Courier New</vt:lpstr>
      <vt:lpstr>Montserrat SemiBold</vt:lpstr>
      <vt:lpstr>Montserrat</vt:lpstr>
      <vt:lpstr>Wingdings</vt:lpstr>
      <vt:lpstr>Impact</vt:lpstr>
      <vt:lpstr>Arial</vt:lpstr>
      <vt:lpstr>IBM Plex Sans</vt:lpstr>
      <vt:lpstr>Calibri</vt:lpstr>
      <vt:lpstr>Cover Page</vt:lpstr>
      <vt:lpstr>think-cell Slide</vt:lpstr>
      <vt:lpstr>How to bring structure to your data platform</vt:lpstr>
      <vt:lpstr>Lightning Talk #1 Unity Catalog → Databricks</vt:lpstr>
      <vt:lpstr>Data chaos across teams</vt:lpstr>
      <vt:lpstr>What is Unity Catalog</vt:lpstr>
      <vt:lpstr>How a data engineer uses Unity Catalog</vt:lpstr>
      <vt:lpstr>How a data engineer uses Unity Catalog</vt:lpstr>
      <vt:lpstr>How a data engineer uses Unity Catalog</vt:lpstr>
      <vt:lpstr>The problems Unity Catalog solves</vt:lpstr>
      <vt:lpstr>It’s not just governance, it’s good engineer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oshua Kanter</dc:creator>
  <cp:lastModifiedBy>Leonardo Trevizo H</cp:lastModifiedBy>
  <cp:revision>67</cp:revision>
  <dcterms:modified xsi:type="dcterms:W3CDTF">2025-07-14T23:2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AA1872CEEF6B479457931568B20E2B</vt:lpwstr>
  </property>
  <property fmtid="{D5CDD505-2E9C-101B-9397-08002B2CF9AE}" pid="3" name="Order">
    <vt:r8>162600</vt:r8>
  </property>
  <property fmtid="{D5CDD505-2E9C-101B-9397-08002B2CF9AE}" pid="4" name="TriggerFlowInfo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_ExtendedDescription">
    <vt:lpwstr/>
  </property>
  <property fmtid="{D5CDD505-2E9C-101B-9397-08002B2CF9AE}" pid="9" name="xd_Signature">
    <vt:bool>false</vt:bool>
  </property>
  <property fmtid="{D5CDD505-2E9C-101B-9397-08002B2CF9AE}" pid="10" name="xd_ProgID">
    <vt:lpwstr/>
  </property>
  <property fmtid="{D5CDD505-2E9C-101B-9397-08002B2CF9AE}" pid="11" name="TemplateUrl">
    <vt:lpwstr/>
  </property>
</Properties>
</file>